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  <p:sldMasterId id="2147483651" r:id="rId2"/>
    <p:sldMasterId id="2147483658" r:id="rId3"/>
  </p:sldMasterIdLst>
  <p:notesMasterIdLst>
    <p:notesMasterId r:id="rId24"/>
  </p:notesMasterIdLst>
  <p:handoutMasterIdLst>
    <p:handoutMasterId r:id="rId25"/>
  </p:handoutMasterIdLst>
  <p:sldIdLst>
    <p:sldId id="256" r:id="rId4"/>
    <p:sldId id="257" r:id="rId5"/>
    <p:sldId id="401" r:id="rId6"/>
    <p:sldId id="303" r:id="rId7"/>
    <p:sldId id="410" r:id="rId8"/>
    <p:sldId id="288" r:id="rId9"/>
    <p:sldId id="298" r:id="rId10"/>
    <p:sldId id="297" r:id="rId11"/>
    <p:sldId id="300" r:id="rId12"/>
    <p:sldId id="289" r:id="rId13"/>
    <p:sldId id="283" r:id="rId14"/>
    <p:sldId id="409" r:id="rId15"/>
    <p:sldId id="259" r:id="rId16"/>
    <p:sldId id="260" r:id="rId17"/>
    <p:sldId id="411" r:id="rId18"/>
    <p:sldId id="286" r:id="rId19"/>
    <p:sldId id="399" r:id="rId20"/>
    <p:sldId id="404" r:id="rId21"/>
    <p:sldId id="403" r:id="rId22"/>
    <p:sldId id="400" r:id="rId23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4A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03F1E6-4C10-40CE-8972-CAF18D08BB8C}" v="210" dt="2018-07-17T05:23:16.3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97" autoAdjust="0"/>
    <p:restoredTop sz="94660"/>
  </p:normalViewPr>
  <p:slideViewPr>
    <p:cSldViewPr>
      <p:cViewPr varScale="1">
        <p:scale>
          <a:sx n="52" d="100"/>
          <a:sy n="52" d="100"/>
        </p:scale>
        <p:origin x="108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microsoft.com/office/2016/11/relationships/changesInfo" Target="changesInfos/changesInfo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sina Subedar" userId="7122ff660a82a16d" providerId="LiveId" clId="{C503F1E6-4C10-40CE-8972-CAF18D08BB8C}"/>
    <pc:docChg chg="undo custSel addSld delSld modSld">
      <pc:chgData name="Hasina Subedar" userId="7122ff660a82a16d" providerId="LiveId" clId="{C503F1E6-4C10-40CE-8972-CAF18D08BB8C}" dt="2018-07-17T05:23:16.381" v="209"/>
      <pc:docMkLst>
        <pc:docMk/>
      </pc:docMkLst>
      <pc:sldChg chg="del">
        <pc:chgData name="Hasina Subedar" userId="7122ff660a82a16d" providerId="LiveId" clId="{C503F1E6-4C10-40CE-8972-CAF18D08BB8C}" dt="2018-07-17T05:09:48.213" v="1" actId="2696"/>
        <pc:sldMkLst>
          <pc:docMk/>
          <pc:sldMk cId="3141992915" sldId="258"/>
        </pc:sldMkLst>
      </pc:sldChg>
      <pc:sldChg chg="modSp add">
        <pc:chgData name="Hasina Subedar" userId="7122ff660a82a16d" providerId="LiveId" clId="{C503F1E6-4C10-40CE-8972-CAF18D08BB8C}" dt="2018-07-17T05:22:12.772" v="207" actId="1076"/>
        <pc:sldMkLst>
          <pc:docMk/>
          <pc:sldMk cId="4227357502" sldId="259"/>
        </pc:sldMkLst>
        <pc:spChg chg="mod">
          <ac:chgData name="Hasina Subedar" userId="7122ff660a82a16d" providerId="LiveId" clId="{C503F1E6-4C10-40CE-8972-CAF18D08BB8C}" dt="2018-07-17T05:22:08.204" v="205" actId="14100"/>
          <ac:spMkLst>
            <pc:docMk/>
            <pc:sldMk cId="4227357502" sldId="259"/>
            <ac:spMk id="7" creationId="{00000000-0000-0000-0000-000000000000}"/>
          </ac:spMkLst>
        </pc:spChg>
        <pc:picChg chg="mod">
          <ac:chgData name="Hasina Subedar" userId="7122ff660a82a16d" providerId="LiveId" clId="{C503F1E6-4C10-40CE-8972-CAF18D08BB8C}" dt="2018-07-17T05:22:12.772" v="207" actId="1076"/>
          <ac:picMkLst>
            <pc:docMk/>
            <pc:sldMk cId="4227357502" sldId="259"/>
            <ac:picMk id="2" creationId="{00000000-0000-0000-0000-000000000000}"/>
          </ac:picMkLst>
        </pc:picChg>
      </pc:sldChg>
      <pc:sldChg chg="modSp add">
        <pc:chgData name="Hasina Subedar" userId="7122ff660a82a16d" providerId="LiveId" clId="{C503F1E6-4C10-40CE-8972-CAF18D08BB8C}" dt="2018-07-17T05:21:18.162" v="203" actId="1076"/>
        <pc:sldMkLst>
          <pc:docMk/>
          <pc:sldMk cId="615808137" sldId="260"/>
        </pc:sldMkLst>
        <pc:spChg chg="mod">
          <ac:chgData name="Hasina Subedar" userId="7122ff660a82a16d" providerId="LiveId" clId="{C503F1E6-4C10-40CE-8972-CAF18D08BB8C}" dt="2018-07-17T05:21:18.162" v="203" actId="1076"/>
          <ac:spMkLst>
            <pc:docMk/>
            <pc:sldMk cId="615808137" sldId="260"/>
            <ac:spMk id="4" creationId="{81118B16-29DD-4662-B8E4-ADDC48AEB81E}"/>
          </ac:spMkLst>
        </pc:spChg>
        <pc:picChg chg="mod">
          <ac:chgData name="Hasina Subedar" userId="7122ff660a82a16d" providerId="LiveId" clId="{C503F1E6-4C10-40CE-8972-CAF18D08BB8C}" dt="2018-07-17T05:20:31.813" v="200" actId="14100"/>
          <ac:picMkLst>
            <pc:docMk/>
            <pc:sldMk cId="615808137" sldId="260"/>
            <ac:picMk id="2" creationId="{00000000-0000-0000-0000-000000000000}"/>
          </ac:picMkLst>
        </pc:picChg>
        <pc:picChg chg="mod">
          <ac:chgData name="Hasina Subedar" userId="7122ff660a82a16d" providerId="LiveId" clId="{C503F1E6-4C10-40CE-8972-CAF18D08BB8C}" dt="2018-07-17T05:20:42.900" v="201" actId="1076"/>
          <ac:picMkLst>
            <pc:docMk/>
            <pc:sldMk cId="615808137" sldId="260"/>
            <ac:picMk id="3" creationId="{00000000-0000-0000-0000-000000000000}"/>
          </ac:picMkLst>
        </pc:picChg>
      </pc:sldChg>
      <pc:sldChg chg="modSp">
        <pc:chgData name="Hasina Subedar" userId="7122ff660a82a16d" providerId="LiveId" clId="{C503F1E6-4C10-40CE-8972-CAF18D08BB8C}" dt="2018-07-17T05:20:10.350" v="199"/>
        <pc:sldMkLst>
          <pc:docMk/>
          <pc:sldMk cId="1160216774" sldId="286"/>
        </pc:sldMkLst>
        <pc:graphicFrameChg chg="mod">
          <ac:chgData name="Hasina Subedar" userId="7122ff660a82a16d" providerId="LiveId" clId="{C503F1E6-4C10-40CE-8972-CAF18D08BB8C}" dt="2018-07-17T05:20:10.350" v="199"/>
          <ac:graphicFrameMkLst>
            <pc:docMk/>
            <pc:sldMk cId="1160216774" sldId="286"/>
            <ac:graphicFrameMk id="6" creationId="{00000000-0000-0000-0000-000000000000}"/>
          </ac:graphicFrameMkLst>
        </pc:graphicFrameChg>
      </pc:sldChg>
      <pc:sldChg chg="modSp">
        <pc:chgData name="Hasina Subedar" userId="7122ff660a82a16d" providerId="LiveId" clId="{C503F1E6-4C10-40CE-8972-CAF18D08BB8C}" dt="2018-07-17T05:18:39.313" v="195" actId="1076"/>
        <pc:sldMkLst>
          <pc:docMk/>
          <pc:sldMk cId="8015160" sldId="289"/>
        </pc:sldMkLst>
        <pc:spChg chg="mod">
          <ac:chgData name="Hasina Subedar" userId="7122ff660a82a16d" providerId="LiveId" clId="{C503F1E6-4C10-40CE-8972-CAF18D08BB8C}" dt="2018-07-17T05:18:39.313" v="195" actId="1076"/>
          <ac:spMkLst>
            <pc:docMk/>
            <pc:sldMk cId="8015160" sldId="289"/>
            <ac:spMk id="6" creationId="{00000000-0000-0000-0000-000000000000}"/>
          </ac:spMkLst>
        </pc:spChg>
      </pc:sldChg>
      <pc:sldChg chg="modSp">
        <pc:chgData name="Hasina Subedar" userId="7122ff660a82a16d" providerId="LiveId" clId="{C503F1E6-4C10-40CE-8972-CAF18D08BB8C}" dt="2018-07-17T05:16:18.011" v="127" actId="1076"/>
        <pc:sldMkLst>
          <pc:docMk/>
          <pc:sldMk cId="4033164732" sldId="297"/>
        </pc:sldMkLst>
        <pc:spChg chg="mod">
          <ac:chgData name="Hasina Subedar" userId="7122ff660a82a16d" providerId="LiveId" clId="{C503F1E6-4C10-40CE-8972-CAF18D08BB8C}" dt="2018-07-17T05:16:18.011" v="127" actId="1076"/>
          <ac:spMkLst>
            <pc:docMk/>
            <pc:sldMk cId="4033164732" sldId="297"/>
            <ac:spMk id="4" creationId="{00000000-0000-0000-0000-000000000000}"/>
          </ac:spMkLst>
        </pc:spChg>
      </pc:sldChg>
      <pc:sldChg chg="modSp">
        <pc:chgData name="Hasina Subedar" userId="7122ff660a82a16d" providerId="LiveId" clId="{C503F1E6-4C10-40CE-8972-CAF18D08BB8C}" dt="2018-07-17T05:15:05.149" v="105" actId="14100"/>
        <pc:sldMkLst>
          <pc:docMk/>
          <pc:sldMk cId="3593038731" sldId="298"/>
        </pc:sldMkLst>
        <pc:spChg chg="mod">
          <ac:chgData name="Hasina Subedar" userId="7122ff660a82a16d" providerId="LiveId" clId="{C503F1E6-4C10-40CE-8972-CAF18D08BB8C}" dt="2018-07-17T05:15:05.149" v="105" actId="14100"/>
          <ac:spMkLst>
            <pc:docMk/>
            <pc:sldMk cId="3593038731" sldId="298"/>
            <ac:spMk id="3" creationId="{00000000-0000-0000-0000-000000000000}"/>
          </ac:spMkLst>
        </pc:spChg>
      </pc:sldChg>
      <pc:sldChg chg="addSp delSp modSp">
        <pc:chgData name="Hasina Subedar" userId="7122ff660a82a16d" providerId="LiveId" clId="{C503F1E6-4C10-40CE-8972-CAF18D08BB8C}" dt="2018-07-17T05:18:00.173" v="193" actId="404"/>
        <pc:sldMkLst>
          <pc:docMk/>
          <pc:sldMk cId="1063294007" sldId="300"/>
        </pc:sldMkLst>
        <pc:spChg chg="del mod">
          <ac:chgData name="Hasina Subedar" userId="7122ff660a82a16d" providerId="LiveId" clId="{C503F1E6-4C10-40CE-8972-CAF18D08BB8C}" dt="2018-07-17T05:17:34.607" v="187" actId="478"/>
          <ac:spMkLst>
            <pc:docMk/>
            <pc:sldMk cId="1063294007" sldId="300"/>
            <ac:spMk id="5" creationId="{00000000-0000-0000-0000-000000000000}"/>
          </ac:spMkLst>
        </pc:spChg>
        <pc:spChg chg="add mod">
          <ac:chgData name="Hasina Subedar" userId="7122ff660a82a16d" providerId="LiveId" clId="{C503F1E6-4C10-40CE-8972-CAF18D08BB8C}" dt="2018-07-17T05:18:00.173" v="193" actId="404"/>
          <ac:spMkLst>
            <pc:docMk/>
            <pc:sldMk cId="1063294007" sldId="300"/>
            <ac:spMk id="6" creationId="{0B353206-6935-420B-BFA5-766860A63F63}"/>
          </ac:spMkLst>
        </pc:spChg>
      </pc:sldChg>
      <pc:sldChg chg="del">
        <pc:chgData name="Hasina Subedar" userId="7122ff660a82a16d" providerId="LiveId" clId="{C503F1E6-4C10-40CE-8972-CAF18D08BB8C}" dt="2018-07-17T05:09:52.198" v="2" actId="2696"/>
        <pc:sldMkLst>
          <pc:docMk/>
          <pc:sldMk cId="1067787545" sldId="398"/>
        </pc:sldMkLst>
      </pc:sldChg>
      <pc:sldChg chg="del">
        <pc:chgData name="Hasina Subedar" userId="7122ff660a82a16d" providerId="LiveId" clId="{C503F1E6-4C10-40CE-8972-CAF18D08BB8C}" dt="2018-07-17T05:09:54.785" v="3" actId="2696"/>
        <pc:sldMkLst>
          <pc:docMk/>
          <pc:sldMk cId="1682857897" sldId="402"/>
        </pc:sldMkLst>
      </pc:sldChg>
      <pc:sldChg chg="modSp">
        <pc:chgData name="Hasina Subedar" userId="7122ff660a82a16d" providerId="LiveId" clId="{C503F1E6-4C10-40CE-8972-CAF18D08BB8C}" dt="2018-07-17T05:19:31.844" v="197" actId="14100"/>
        <pc:sldMkLst>
          <pc:docMk/>
          <pc:sldMk cId="3051090722" sldId="403"/>
        </pc:sldMkLst>
        <pc:spChg chg="mod">
          <ac:chgData name="Hasina Subedar" userId="7122ff660a82a16d" providerId="LiveId" clId="{C503F1E6-4C10-40CE-8972-CAF18D08BB8C}" dt="2018-07-17T05:19:31.844" v="197" actId="14100"/>
          <ac:spMkLst>
            <pc:docMk/>
            <pc:sldMk cId="3051090722" sldId="403"/>
            <ac:spMk id="5" creationId="{00000000-0000-0000-0000-000000000000}"/>
          </ac:spMkLst>
        </pc:spChg>
      </pc:sldChg>
      <pc:sldChg chg="modSp">
        <pc:chgData name="Hasina Subedar" userId="7122ff660a82a16d" providerId="LiveId" clId="{C503F1E6-4C10-40CE-8972-CAF18D08BB8C}" dt="2018-07-17T05:12:02.611" v="10" actId="20577"/>
        <pc:sldMkLst>
          <pc:docMk/>
          <pc:sldMk cId="3670566061" sldId="405"/>
        </pc:sldMkLst>
        <pc:spChg chg="mod">
          <ac:chgData name="Hasina Subedar" userId="7122ff660a82a16d" providerId="LiveId" clId="{C503F1E6-4C10-40CE-8972-CAF18D08BB8C}" dt="2018-07-17T05:12:02.611" v="10" actId="20577"/>
          <ac:spMkLst>
            <pc:docMk/>
            <pc:sldMk cId="3670566061" sldId="405"/>
            <ac:spMk id="2" creationId="{C82E5DCD-471A-4A3B-B890-C26345DE586E}"/>
          </ac:spMkLst>
        </pc:spChg>
      </pc:sldChg>
      <pc:sldChg chg="modSp">
        <pc:chgData name="Hasina Subedar" userId="7122ff660a82a16d" providerId="LiveId" clId="{C503F1E6-4C10-40CE-8972-CAF18D08BB8C}" dt="2018-07-17T05:18:58.989" v="196" actId="120"/>
        <pc:sldMkLst>
          <pc:docMk/>
          <pc:sldMk cId="1363588176" sldId="409"/>
        </pc:sldMkLst>
        <pc:spChg chg="mod">
          <ac:chgData name="Hasina Subedar" userId="7122ff660a82a16d" providerId="LiveId" clId="{C503F1E6-4C10-40CE-8972-CAF18D08BB8C}" dt="2018-07-17T05:18:58.989" v="196" actId="120"/>
          <ac:spMkLst>
            <pc:docMk/>
            <pc:sldMk cId="1363588176" sldId="409"/>
            <ac:spMk id="2" creationId="{00000000-0000-0000-0000-000000000000}"/>
          </ac:spMkLst>
        </pc:spChg>
      </pc:sldChg>
      <pc:sldChg chg="modSp">
        <pc:chgData name="Hasina Subedar" userId="7122ff660a82a16d" providerId="LiveId" clId="{C503F1E6-4C10-40CE-8972-CAF18D08BB8C}" dt="2018-07-17T05:14:24.684" v="101" actId="20577"/>
        <pc:sldMkLst>
          <pc:docMk/>
          <pc:sldMk cId="2511881202" sldId="410"/>
        </pc:sldMkLst>
        <pc:spChg chg="mod">
          <ac:chgData name="Hasina Subedar" userId="7122ff660a82a16d" providerId="LiveId" clId="{C503F1E6-4C10-40CE-8972-CAF18D08BB8C}" dt="2018-07-17T05:12:41.568" v="13" actId="404"/>
          <ac:spMkLst>
            <pc:docMk/>
            <pc:sldMk cId="2511881202" sldId="410"/>
            <ac:spMk id="2" creationId="{20A2D432-5D41-462B-B8E5-356BD945BEFA}"/>
          </ac:spMkLst>
        </pc:spChg>
        <pc:graphicFrameChg chg="mod modGraphic">
          <ac:chgData name="Hasina Subedar" userId="7122ff660a82a16d" providerId="LiveId" clId="{C503F1E6-4C10-40CE-8972-CAF18D08BB8C}" dt="2018-07-17T05:14:24.684" v="101" actId="20577"/>
          <ac:graphicFrameMkLst>
            <pc:docMk/>
            <pc:sldMk cId="2511881202" sldId="410"/>
            <ac:graphicFrameMk id="4" creationId="{ECB656E2-9473-40E1-8CCF-69E32DE97818}"/>
          </ac:graphicFrameMkLst>
        </pc:graphicFrameChg>
      </pc:sldChg>
      <pc:sldChg chg="modSp add del">
        <pc:chgData name="Hasina Subedar" userId="7122ff660a82a16d" providerId="LiveId" clId="{C503F1E6-4C10-40CE-8972-CAF18D08BB8C}" dt="2018-07-17T05:23:16.381" v="209"/>
        <pc:sldMkLst>
          <pc:docMk/>
          <pc:sldMk cId="2470629288" sldId="411"/>
        </pc:sldMkLst>
        <pc:grpChg chg="mod">
          <ac:chgData name="Hasina Subedar" userId="7122ff660a82a16d" providerId="LiveId" clId="{C503F1E6-4C10-40CE-8972-CAF18D08BB8C}" dt="2018-07-17T05:21:26.703" v="204" actId="1076"/>
          <ac:grpSpMkLst>
            <pc:docMk/>
            <pc:sldMk cId="2470629288" sldId="411"/>
            <ac:grpSpMk id="5" creationId="{00000000-0000-0000-0000-000000000000}"/>
          </ac:grpSpMkLst>
        </pc:gr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DC6046-7FDC-4F9B-BF0C-CBC33026870A}" type="doc">
      <dgm:prSet loTypeId="urn:microsoft.com/office/officeart/2005/8/layout/lProcess1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79D7D69-6FF6-4F5C-B004-23EDA0010555}">
      <dgm:prSet phldrT="[Text]" custT="1"/>
      <dgm:spPr/>
      <dgm:t>
        <a:bodyPr/>
        <a:lstStyle/>
        <a:p>
          <a:r>
            <a:rPr lang="en-US" sz="2000" b="1" dirty="0"/>
            <a:t>Preparation</a:t>
          </a:r>
        </a:p>
        <a:p>
          <a:r>
            <a:rPr lang="en-US" sz="2000" b="1" dirty="0"/>
            <a:t>March –May 2016</a:t>
          </a:r>
        </a:p>
      </dgm:t>
    </dgm:pt>
    <dgm:pt modelId="{7A2DD67A-1D1E-4360-996A-D9C1368E6105}" type="parTrans" cxnId="{DF359076-2EEF-44B0-B01A-4BA0289C78A0}">
      <dgm:prSet/>
      <dgm:spPr/>
      <dgm:t>
        <a:bodyPr/>
        <a:lstStyle/>
        <a:p>
          <a:pPr algn="ctr"/>
          <a:endParaRPr lang="en-US" b="0"/>
        </a:p>
      </dgm:t>
    </dgm:pt>
    <dgm:pt modelId="{7F5ADE3F-DDB2-4502-A660-B04CDC840202}" type="sibTrans" cxnId="{DF359076-2EEF-44B0-B01A-4BA0289C78A0}">
      <dgm:prSet/>
      <dgm:spPr/>
      <dgm:t>
        <a:bodyPr/>
        <a:lstStyle/>
        <a:p>
          <a:endParaRPr lang="en-US" b="0"/>
        </a:p>
      </dgm:t>
    </dgm:pt>
    <dgm:pt modelId="{BAA790CC-F1FA-498A-962E-B028E76AB1EF}">
      <dgm:prSet phldrT="[Text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US" sz="2000" b="0" dirty="0"/>
            <a:t>Site assessment &amp; readiness</a:t>
          </a:r>
        </a:p>
      </dgm:t>
    </dgm:pt>
    <dgm:pt modelId="{21C3F08D-86CA-4AB5-ABE4-33C7E27BBE6B}" type="parTrans" cxnId="{E7E9D9F8-66F3-472D-B1D6-C956869E4FAD}">
      <dgm:prSet/>
      <dgm:spPr/>
      <dgm:t>
        <a:bodyPr/>
        <a:lstStyle/>
        <a:p>
          <a:pPr algn="ctr"/>
          <a:endParaRPr lang="en-US" b="0"/>
        </a:p>
      </dgm:t>
    </dgm:pt>
    <dgm:pt modelId="{C847DE2B-9696-4CA1-AB4B-0EC704BAC907}" type="sibTrans" cxnId="{E7E9D9F8-66F3-472D-B1D6-C956869E4FAD}">
      <dgm:prSet/>
      <dgm:spPr/>
      <dgm:t>
        <a:bodyPr/>
        <a:lstStyle/>
        <a:p>
          <a:endParaRPr lang="en-US" b="0"/>
        </a:p>
      </dgm:t>
    </dgm:pt>
    <dgm:pt modelId="{C62602E2-C7B6-4DD5-BA15-F79C6A25D95A}">
      <dgm:prSet phldrT="[Text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US" sz="2000" b="0" dirty="0"/>
            <a:t>Training &amp; implementation tools </a:t>
          </a:r>
          <a:r>
            <a:rPr lang="en-US" sz="1100" b="0" dirty="0"/>
            <a:t>(SOPs, M&amp;E reporting forms)</a:t>
          </a:r>
        </a:p>
      </dgm:t>
    </dgm:pt>
    <dgm:pt modelId="{CBD08EDD-7E9D-4C48-8E43-3EFFB41C8CF4}" type="parTrans" cxnId="{C357D2AC-BCA2-4745-8F59-717B171422AA}">
      <dgm:prSet/>
      <dgm:spPr/>
      <dgm:t>
        <a:bodyPr/>
        <a:lstStyle/>
        <a:p>
          <a:pPr algn="ctr"/>
          <a:endParaRPr lang="en-US" b="0"/>
        </a:p>
      </dgm:t>
    </dgm:pt>
    <dgm:pt modelId="{8B848CC6-29AF-4826-84A2-670173A13A08}" type="sibTrans" cxnId="{C357D2AC-BCA2-4745-8F59-717B171422AA}">
      <dgm:prSet/>
      <dgm:spPr/>
      <dgm:t>
        <a:bodyPr/>
        <a:lstStyle/>
        <a:p>
          <a:endParaRPr lang="en-US" b="0"/>
        </a:p>
      </dgm:t>
    </dgm:pt>
    <dgm:pt modelId="{5FCCCF49-4EB1-4ED5-9494-B0AF3BADA1F1}">
      <dgm:prSet custT="1"/>
      <dgm:spPr/>
      <dgm:t>
        <a:bodyPr spcFirstLastPara="0" vert="horz" wrap="square" lIns="17780" tIns="17780" rIns="17780" bIns="17780" numCol="1" spcCol="1270" anchor="ctr" anchorCtr="0"/>
        <a:lstStyle/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Calibri"/>
              <a:ea typeface="+mn-ea"/>
              <a:cs typeface="+mn-cs"/>
            </a:rPr>
            <a:t>Approved</a:t>
          </a:r>
        </a:p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Calibri"/>
              <a:ea typeface="+mn-ea"/>
              <a:cs typeface="+mn-cs"/>
            </a:rPr>
            <a:t>March 2016</a:t>
          </a:r>
        </a:p>
      </dgm:t>
    </dgm:pt>
    <dgm:pt modelId="{A6AAC98F-A444-403C-8497-010CDE4FFBFC}" type="parTrans" cxnId="{E0ED20DA-4101-4AC2-A41A-3978F0E9807E}">
      <dgm:prSet/>
      <dgm:spPr/>
      <dgm:t>
        <a:bodyPr/>
        <a:lstStyle/>
        <a:p>
          <a:pPr algn="ctr"/>
          <a:endParaRPr lang="en-US" b="0"/>
        </a:p>
      </dgm:t>
    </dgm:pt>
    <dgm:pt modelId="{57D5F697-16AA-45BF-956F-F02E8F2D0F4E}" type="sibTrans" cxnId="{E0ED20DA-4101-4AC2-A41A-3978F0E9807E}">
      <dgm:prSet/>
      <dgm:spPr/>
      <dgm:t>
        <a:bodyPr/>
        <a:lstStyle/>
        <a:p>
          <a:endParaRPr lang="en-US" b="0"/>
        </a:p>
      </dgm:t>
    </dgm:pt>
    <dgm:pt modelId="{76EFDC70-EDAA-4F6E-A5A2-B7F2C82D2BF7}">
      <dgm:prSet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US" sz="1600" b="0" dirty="0"/>
            <a:t>Drug </a:t>
          </a:r>
          <a:r>
            <a:rPr lang="en-US" sz="2000" b="0" dirty="0"/>
            <a:t>supply</a:t>
          </a:r>
        </a:p>
      </dgm:t>
    </dgm:pt>
    <dgm:pt modelId="{F11F8F3F-6EC0-4CB6-BBE3-E14A21892CD8}" type="parTrans" cxnId="{C3062DE8-086C-4FF3-911F-6C8CC4C0779E}">
      <dgm:prSet/>
      <dgm:spPr/>
      <dgm:t>
        <a:bodyPr/>
        <a:lstStyle/>
        <a:p>
          <a:pPr algn="ctr"/>
          <a:endParaRPr lang="en-US" b="0"/>
        </a:p>
      </dgm:t>
    </dgm:pt>
    <dgm:pt modelId="{415BED08-59C8-4EB9-A377-D9D858FBBB47}" type="sibTrans" cxnId="{C3062DE8-086C-4FF3-911F-6C8CC4C0779E}">
      <dgm:prSet/>
      <dgm:spPr/>
      <dgm:t>
        <a:bodyPr/>
        <a:lstStyle/>
        <a:p>
          <a:endParaRPr lang="en-US" b="0"/>
        </a:p>
      </dgm:t>
    </dgm:pt>
    <dgm:pt modelId="{BF01A764-7289-4264-B626-7E3EE2736AB8}">
      <dgm:prSet custT="1"/>
      <dgm:spPr/>
      <dgm:t>
        <a:bodyPr spcFirstLastPara="0" vert="horz" wrap="square" lIns="38100" tIns="38100" rIns="38100" bIns="38100" numCol="1" spcCol="1270" anchor="ctr" anchorCtr="0"/>
        <a:lstStyle/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Policy</a:t>
          </a:r>
        </a:p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October 2015 – March 2016</a:t>
          </a:r>
        </a:p>
      </dgm:t>
    </dgm:pt>
    <dgm:pt modelId="{B3BAF6BA-80D8-429A-A506-F98585243334}" type="sibTrans" cxnId="{47874F52-46A8-4220-B0CD-A6CA32D61FF4}">
      <dgm:prSet/>
      <dgm:spPr/>
      <dgm:t>
        <a:bodyPr/>
        <a:lstStyle/>
        <a:p>
          <a:endParaRPr lang="en-US" b="0"/>
        </a:p>
      </dgm:t>
    </dgm:pt>
    <dgm:pt modelId="{2A70E98F-50ED-475A-8ECE-799B9001238C}" type="parTrans" cxnId="{47874F52-46A8-4220-B0CD-A6CA32D61FF4}">
      <dgm:prSet/>
      <dgm:spPr/>
      <dgm:t>
        <a:bodyPr/>
        <a:lstStyle/>
        <a:p>
          <a:pPr algn="ctr"/>
          <a:endParaRPr lang="en-US" b="0"/>
        </a:p>
      </dgm:t>
    </dgm:pt>
    <dgm:pt modelId="{4283946E-F254-4D1F-A53D-453D9EE7CF08}">
      <dgm:prSet custT="1"/>
      <dgm:spPr/>
      <dgm:t>
        <a:bodyPr spcFirstLastPara="0" vert="horz" wrap="square" lIns="38100" tIns="38100" rIns="38100" bIns="38100" numCol="1" spcCol="1270" anchor="ctr" anchorCtr="0"/>
        <a:lstStyle/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Phased Implementation</a:t>
          </a:r>
        </a:p>
        <a:p>
          <a:pPr marL="0" lvl="0" indent="0" defTabSz="1333500"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atin typeface="Calibri"/>
              <a:ea typeface="+mn-ea"/>
              <a:cs typeface="+mn-cs"/>
            </a:rPr>
            <a:t>June 2016-to-date</a:t>
          </a:r>
        </a:p>
      </dgm:t>
    </dgm:pt>
    <dgm:pt modelId="{0B5C1E3F-B221-4248-9E84-96C6D0CD11BF}" type="parTrans" cxnId="{E6342CF3-C6A4-4719-886C-CF441DDD042E}">
      <dgm:prSet/>
      <dgm:spPr/>
      <dgm:t>
        <a:bodyPr/>
        <a:lstStyle/>
        <a:p>
          <a:pPr algn="ctr"/>
          <a:endParaRPr lang="en-US" b="0"/>
        </a:p>
      </dgm:t>
    </dgm:pt>
    <dgm:pt modelId="{F7688C8D-D596-465B-BF95-F1ED915066A5}" type="sibTrans" cxnId="{E6342CF3-C6A4-4719-886C-CF441DDD042E}">
      <dgm:prSet/>
      <dgm:spPr/>
      <dgm:t>
        <a:bodyPr/>
        <a:lstStyle/>
        <a:p>
          <a:endParaRPr lang="en-US" b="0"/>
        </a:p>
      </dgm:t>
    </dgm:pt>
    <dgm:pt modelId="{EAC37A89-306F-4012-81A6-A1743A6A6421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Calibri"/>
              <a:ea typeface="+mn-ea"/>
              <a:cs typeface="+mn-cs"/>
            </a:rPr>
            <a:t>Sex workers </a:t>
          </a:r>
          <a:r>
            <a:rPr lang="en-US" sz="1800" b="0" kern="1200" dirty="0">
              <a:latin typeface="Calibri"/>
              <a:ea typeface="+mn-ea"/>
              <a:cs typeface="+mn-cs"/>
            </a:rPr>
            <a:t>at selected sites</a:t>
          </a:r>
        </a:p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Calibri"/>
              <a:ea typeface="+mn-ea"/>
              <a:cs typeface="+mn-cs"/>
            </a:rPr>
            <a:t>  1 June 2016</a:t>
          </a:r>
        </a:p>
      </dgm:t>
    </dgm:pt>
    <dgm:pt modelId="{121846C7-A5C9-4FBD-9145-A30F3D219630}" type="parTrans" cxnId="{0F975E98-9A47-444E-8DA1-7626B8939111}">
      <dgm:prSet/>
      <dgm:spPr>
        <a:solidFill>
          <a:srgbClr val="7030A0"/>
        </a:solidFill>
      </dgm:spPr>
      <dgm:t>
        <a:bodyPr/>
        <a:lstStyle/>
        <a:p>
          <a:pPr algn="ctr"/>
          <a:endParaRPr lang="en-US" b="0"/>
        </a:p>
      </dgm:t>
    </dgm:pt>
    <dgm:pt modelId="{7337CA75-2F68-43A3-8C79-37F2A4EA9604}" type="sibTrans" cxnId="{0F975E98-9A47-444E-8DA1-7626B8939111}">
      <dgm:prSet/>
      <dgm:spPr/>
      <dgm:t>
        <a:bodyPr/>
        <a:lstStyle/>
        <a:p>
          <a:endParaRPr lang="en-US" b="0"/>
        </a:p>
      </dgm:t>
    </dgm:pt>
    <dgm:pt modelId="{65DB5E82-71F2-42AE-B3B2-F3B12FB496B9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r>
            <a:rPr lang="en-US" sz="1800" b="1" kern="1200" dirty="0"/>
            <a:t>Youth</a:t>
          </a:r>
          <a:r>
            <a:rPr lang="en-US" sz="1800" b="0" kern="1200" dirty="0"/>
            <a:t> at select university campus clinics </a:t>
          </a:r>
        </a:p>
        <a:p>
          <a:r>
            <a:rPr lang="en-US" sz="1800" b="1" kern="1200" dirty="0"/>
            <a:t>1 October 2017</a:t>
          </a:r>
        </a:p>
      </dgm:t>
    </dgm:pt>
    <dgm:pt modelId="{1BC64111-C85C-485C-A732-F49EEC962888}" type="parTrans" cxnId="{A0CEE1A5-2E6C-4447-9671-24283A0CBA06}">
      <dgm:prSet/>
      <dgm:spPr/>
      <dgm:t>
        <a:bodyPr/>
        <a:lstStyle/>
        <a:p>
          <a:pPr algn="ctr"/>
          <a:endParaRPr lang="en-US" b="0"/>
        </a:p>
      </dgm:t>
    </dgm:pt>
    <dgm:pt modelId="{8FB9477D-352F-4502-AA79-3E9D4473111E}" type="sibTrans" cxnId="{A0CEE1A5-2E6C-4447-9671-24283A0CBA06}">
      <dgm:prSet/>
      <dgm:spPr/>
      <dgm:t>
        <a:bodyPr/>
        <a:lstStyle/>
        <a:p>
          <a:endParaRPr lang="en-US" b="0"/>
        </a:p>
      </dgm:t>
    </dgm:pt>
    <dgm:pt modelId="{16BA387C-B7F9-42A2-B5C3-45F2DBBC17EA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r>
            <a:rPr lang="en-US" sz="1800" b="1" kern="1200" dirty="0"/>
            <a:t>MSM </a:t>
          </a:r>
          <a:r>
            <a:rPr lang="en-US" sz="1800" b="0" kern="1200" dirty="0"/>
            <a:t>at selected sites </a:t>
          </a:r>
        </a:p>
        <a:p>
          <a:r>
            <a:rPr lang="en-US" sz="1800" b="1" kern="1200" dirty="0"/>
            <a:t>1 April 2017 </a:t>
          </a:r>
          <a:r>
            <a:rPr lang="en-US" sz="1800" b="0" kern="1200" dirty="0"/>
            <a:t>  </a:t>
          </a:r>
        </a:p>
      </dgm:t>
    </dgm:pt>
    <dgm:pt modelId="{D377D7BE-6AA9-4819-BC89-F456A01E5B83}" type="parTrans" cxnId="{1AE5E8B0-54C0-4FB9-AF9E-FDA4B806252B}">
      <dgm:prSet/>
      <dgm:spPr/>
      <dgm:t>
        <a:bodyPr/>
        <a:lstStyle/>
        <a:p>
          <a:pPr algn="ctr"/>
          <a:endParaRPr lang="en-US" b="0"/>
        </a:p>
      </dgm:t>
    </dgm:pt>
    <dgm:pt modelId="{AC6C51BE-D8EB-4F4D-B0AE-DC90F3CD214D}" type="sibTrans" cxnId="{1AE5E8B0-54C0-4FB9-AF9E-FDA4B806252B}">
      <dgm:prSet/>
      <dgm:spPr/>
      <dgm:t>
        <a:bodyPr/>
        <a:lstStyle/>
        <a:p>
          <a:endParaRPr lang="en-US" b="0"/>
        </a:p>
      </dgm:t>
    </dgm:pt>
    <dgm:pt modelId="{62D065A7-983F-47CF-9623-FC8CC818C176}">
      <dgm:prSet custT="1"/>
      <dgm:spPr>
        <a:solidFill>
          <a:schemeClr val="accent3">
            <a:lumMod val="20000"/>
            <a:lumOff val="80000"/>
          </a:schemeClr>
        </a:solidFill>
      </dgm:spPr>
      <dgm:t>
        <a:bodyPr spcFirstLastPara="0" vert="horz" wrap="square" lIns="17780" tIns="17780" rIns="17780" bIns="17780" numCol="1" spcCol="1270" anchor="ctr" anchorCtr="0"/>
        <a:lstStyle/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latin typeface="Calibri"/>
              <a:ea typeface="+mn-ea"/>
              <a:cs typeface="+mn-cs"/>
            </a:rPr>
            <a:t>Social mobilization and demand creation</a:t>
          </a:r>
        </a:p>
        <a:p>
          <a:pPr marL="0" lvl="0" indent="0" defTabSz="622300"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latin typeface="Calibri"/>
              <a:ea typeface="+mn-ea"/>
              <a:cs typeface="+mn-cs"/>
            </a:rPr>
            <a:t>IEC materials &amp; job aids</a:t>
          </a:r>
        </a:p>
      </dgm:t>
    </dgm:pt>
    <dgm:pt modelId="{C43A77F3-725A-49F2-A64E-392DDFA21C5E}" type="parTrans" cxnId="{C43671CD-10D3-44E1-826E-43F53FFD48C5}">
      <dgm:prSet/>
      <dgm:spPr/>
      <dgm:t>
        <a:bodyPr/>
        <a:lstStyle/>
        <a:p>
          <a:pPr algn="ctr"/>
          <a:endParaRPr lang="en-US" b="0"/>
        </a:p>
      </dgm:t>
    </dgm:pt>
    <dgm:pt modelId="{438F71BE-E599-4ED6-BC68-5BC68051E16F}" type="sibTrans" cxnId="{C43671CD-10D3-44E1-826E-43F53FFD48C5}">
      <dgm:prSet/>
      <dgm:spPr/>
      <dgm:t>
        <a:bodyPr/>
        <a:lstStyle/>
        <a:p>
          <a:endParaRPr lang="en-US" b="0"/>
        </a:p>
      </dgm:t>
    </dgm:pt>
    <dgm:pt modelId="{2F523F3A-849D-4051-894C-C13A25155D52}">
      <dgm:prSet custT="1"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ZA" sz="1800" b="1" dirty="0"/>
            <a:t>AGYW</a:t>
          </a:r>
          <a:r>
            <a:rPr lang="en-ZA" sz="1800" dirty="0"/>
            <a:t> at selected public clinics </a:t>
          </a:r>
        </a:p>
        <a:p>
          <a:r>
            <a:rPr lang="en-ZA" sz="1800" b="1" dirty="0"/>
            <a:t>April  2018</a:t>
          </a:r>
        </a:p>
      </dgm:t>
    </dgm:pt>
    <dgm:pt modelId="{ADB70EAB-592F-4865-930A-A47337384C62}" type="parTrans" cxnId="{FB996874-C307-4566-BE8F-5F6A9B8232A7}">
      <dgm:prSet/>
      <dgm:spPr/>
      <dgm:t>
        <a:bodyPr/>
        <a:lstStyle/>
        <a:p>
          <a:pPr algn="ctr"/>
          <a:endParaRPr lang="en-ZA"/>
        </a:p>
      </dgm:t>
    </dgm:pt>
    <dgm:pt modelId="{E4668D99-4E30-444F-9B8C-6A56F70E83A0}" type="sibTrans" cxnId="{FB996874-C307-4566-BE8F-5F6A9B8232A7}">
      <dgm:prSet/>
      <dgm:spPr/>
      <dgm:t>
        <a:bodyPr/>
        <a:lstStyle/>
        <a:p>
          <a:endParaRPr lang="en-ZA"/>
        </a:p>
      </dgm:t>
    </dgm:pt>
    <dgm:pt modelId="{16637B41-C3C1-4251-860A-DEE4623B9C87}" type="pres">
      <dgm:prSet presAssocID="{64DC6046-7FDC-4F9B-BF0C-CBC33026870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7B2FB7E-BC93-4D38-B242-C2018FA9DAD1}" type="pres">
      <dgm:prSet presAssocID="{BF01A764-7289-4264-B626-7E3EE2736AB8}" presName="vertFlow" presStyleCnt="0"/>
      <dgm:spPr/>
    </dgm:pt>
    <dgm:pt modelId="{41DECD3D-E226-4794-9918-45C791643EE9}" type="pres">
      <dgm:prSet presAssocID="{BF01A764-7289-4264-B626-7E3EE2736AB8}" presName="header" presStyleLbl="node1" presStyleIdx="0" presStyleCnt="3" custScaleY="157783"/>
      <dgm:spPr/>
      <dgm:t>
        <a:bodyPr/>
        <a:lstStyle/>
        <a:p>
          <a:endParaRPr lang="en-US"/>
        </a:p>
      </dgm:t>
    </dgm:pt>
    <dgm:pt modelId="{19DFEDFC-CE5F-4F72-B9E1-54113BBACBC7}" type="pres">
      <dgm:prSet presAssocID="{A6AAC98F-A444-403C-8497-010CDE4FFBFC}" presName="parTrans" presStyleLbl="sibTrans2D1" presStyleIdx="0" presStyleCnt="9"/>
      <dgm:spPr/>
      <dgm:t>
        <a:bodyPr/>
        <a:lstStyle/>
        <a:p>
          <a:endParaRPr lang="en-US"/>
        </a:p>
      </dgm:t>
    </dgm:pt>
    <dgm:pt modelId="{B4E52C8C-9801-474E-B99F-BC77FFD0413E}" type="pres">
      <dgm:prSet presAssocID="{5FCCCF49-4EB1-4ED5-9494-B0AF3BADA1F1}" presName="child" presStyleLbl="alignAccFollowNode1" presStyleIdx="0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9D8501-E826-46E5-81F0-1BB56E8EBF87}" type="pres">
      <dgm:prSet presAssocID="{BF01A764-7289-4264-B626-7E3EE2736AB8}" presName="hSp" presStyleCnt="0"/>
      <dgm:spPr/>
    </dgm:pt>
    <dgm:pt modelId="{8B52BAE8-19A7-491C-B010-13DE661D0D1B}" type="pres">
      <dgm:prSet presAssocID="{D79D7D69-6FF6-4F5C-B004-23EDA0010555}" presName="vertFlow" presStyleCnt="0"/>
      <dgm:spPr/>
    </dgm:pt>
    <dgm:pt modelId="{1F96383A-B42D-4C48-AC60-6927E029B7B5}" type="pres">
      <dgm:prSet presAssocID="{D79D7D69-6FF6-4F5C-B004-23EDA0010555}" presName="header" presStyleLbl="node1" presStyleIdx="1" presStyleCnt="3" custLinFactNeighborX="-2693" custLinFactNeighborY="-22185"/>
      <dgm:spPr/>
      <dgm:t>
        <a:bodyPr/>
        <a:lstStyle/>
        <a:p>
          <a:endParaRPr lang="en-US"/>
        </a:p>
      </dgm:t>
    </dgm:pt>
    <dgm:pt modelId="{FBF7B23D-0B79-40F6-91EF-3336E094615C}" type="pres">
      <dgm:prSet presAssocID="{21C3F08D-86CA-4AB5-ABE4-33C7E27BBE6B}" presName="parTrans" presStyleLbl="sibTrans2D1" presStyleIdx="1" presStyleCnt="9"/>
      <dgm:spPr/>
      <dgm:t>
        <a:bodyPr/>
        <a:lstStyle/>
        <a:p>
          <a:endParaRPr lang="en-US"/>
        </a:p>
      </dgm:t>
    </dgm:pt>
    <dgm:pt modelId="{C3F32A81-3F78-4F4F-BF40-A88FB5DB4033}" type="pres">
      <dgm:prSet presAssocID="{BAA790CC-F1FA-498A-962E-B028E76AB1EF}" presName="child" presStyleLbl="alignAccFollowNode1" presStyleIdx="1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A26BF7-6D53-420B-87D3-A6EA231921FB}" type="pres">
      <dgm:prSet presAssocID="{C847DE2B-9696-4CA1-AB4B-0EC704BAC907}" presName="sibTrans" presStyleLbl="sibTrans2D1" presStyleIdx="2" presStyleCnt="9"/>
      <dgm:spPr/>
      <dgm:t>
        <a:bodyPr/>
        <a:lstStyle/>
        <a:p>
          <a:endParaRPr lang="en-US"/>
        </a:p>
      </dgm:t>
    </dgm:pt>
    <dgm:pt modelId="{5BFBD231-2B65-435E-807F-0617EC687955}" type="pres">
      <dgm:prSet presAssocID="{C62602E2-C7B6-4DD5-BA15-F79C6A25D95A}" presName="child" presStyleLbl="alignAccFollowNode1" presStyleIdx="2" presStyleCnt="9" custScaleY="12884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98FC1E-A175-4F3A-B415-85DDD51F3E75}" type="pres">
      <dgm:prSet presAssocID="{8B848CC6-29AF-4826-84A2-670173A13A08}" presName="sibTrans" presStyleLbl="sibTrans2D1" presStyleIdx="3" presStyleCnt="9"/>
      <dgm:spPr/>
      <dgm:t>
        <a:bodyPr/>
        <a:lstStyle/>
        <a:p>
          <a:endParaRPr lang="en-US"/>
        </a:p>
      </dgm:t>
    </dgm:pt>
    <dgm:pt modelId="{780CC62F-60E4-4970-A196-25663BE4E4F0}" type="pres">
      <dgm:prSet presAssocID="{76EFDC70-EDAA-4F6E-A5A2-B7F2C82D2BF7}" presName="child" presStyleLbl="alignAccFollowNode1" presStyleIdx="3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E76C71-8329-43FC-8A59-BB6020FEE772}" type="pres">
      <dgm:prSet presAssocID="{415BED08-59C8-4EB9-A377-D9D858FBBB47}" presName="sibTrans" presStyleLbl="sibTrans2D1" presStyleIdx="4" presStyleCnt="9"/>
      <dgm:spPr/>
      <dgm:t>
        <a:bodyPr/>
        <a:lstStyle/>
        <a:p>
          <a:endParaRPr lang="en-US"/>
        </a:p>
      </dgm:t>
    </dgm:pt>
    <dgm:pt modelId="{605B2229-5DEF-4037-A905-3E57C13DAEBA}" type="pres">
      <dgm:prSet presAssocID="{62D065A7-983F-47CF-9623-FC8CC818C176}" presName="child" presStyleLbl="alignAccFollowNode1" presStyleIdx="4" presStyleCnt="9" custScaleY="15192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17B0B3-E6F3-4546-BB52-E31DCDFDE940}" type="pres">
      <dgm:prSet presAssocID="{D79D7D69-6FF6-4F5C-B004-23EDA0010555}" presName="hSp" presStyleCnt="0"/>
      <dgm:spPr/>
    </dgm:pt>
    <dgm:pt modelId="{9B07AD11-AB1B-4337-9995-E5A1D1EBA5BA}" type="pres">
      <dgm:prSet presAssocID="{4283946E-F254-4D1F-A53D-453D9EE7CF08}" presName="vertFlow" presStyleCnt="0"/>
      <dgm:spPr/>
    </dgm:pt>
    <dgm:pt modelId="{F6C976EB-7A8D-49BC-A56C-528CCB53E9AF}" type="pres">
      <dgm:prSet presAssocID="{4283946E-F254-4D1F-A53D-453D9EE7CF08}" presName="header" presStyleLbl="node1" presStyleIdx="2" presStyleCnt="3"/>
      <dgm:spPr/>
      <dgm:t>
        <a:bodyPr/>
        <a:lstStyle/>
        <a:p>
          <a:endParaRPr lang="en-US"/>
        </a:p>
      </dgm:t>
    </dgm:pt>
    <dgm:pt modelId="{A2E387B7-B4B1-4E94-B6E6-F8E41A71DE06}" type="pres">
      <dgm:prSet presAssocID="{121846C7-A5C9-4FBD-9145-A30F3D219630}" presName="parTrans" presStyleLbl="sibTrans2D1" presStyleIdx="5" presStyleCnt="9"/>
      <dgm:spPr/>
      <dgm:t>
        <a:bodyPr/>
        <a:lstStyle/>
        <a:p>
          <a:endParaRPr lang="en-US"/>
        </a:p>
      </dgm:t>
    </dgm:pt>
    <dgm:pt modelId="{2B568F5C-0E66-4032-AAC9-AEAC2A687752}" type="pres">
      <dgm:prSet presAssocID="{EAC37A89-306F-4012-81A6-A1743A6A6421}" presName="child" presStyleLbl="alignAccFollowNode1" presStyleIdx="5" presStyleCnt="9" custScaleY="149902" custLinFactNeighborX="740" custLinFactNeighborY="1337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49D33B-D4CC-403F-B779-08204F39A202}" type="pres">
      <dgm:prSet presAssocID="{7337CA75-2F68-43A3-8C79-37F2A4EA9604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E8A5FF0-F329-4799-ACCB-93AD9C68E120}" type="pres">
      <dgm:prSet presAssocID="{16BA387C-B7F9-42A2-B5C3-45F2DBBC17EA}" presName="child" presStyleLbl="alignAccFollowNode1" presStyleIdx="6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8B1718-15AF-45B9-88B8-8E0097FC9061}" type="pres">
      <dgm:prSet presAssocID="{AC6C51BE-D8EB-4F4D-B0AE-DC90F3CD214D}" presName="sibTrans" presStyleLbl="sibTrans2D1" presStyleIdx="7" presStyleCnt="9"/>
      <dgm:spPr/>
      <dgm:t>
        <a:bodyPr/>
        <a:lstStyle/>
        <a:p>
          <a:endParaRPr lang="en-US"/>
        </a:p>
      </dgm:t>
    </dgm:pt>
    <dgm:pt modelId="{9959D451-7BA9-46D6-A7BB-A8715343552A}" type="pres">
      <dgm:prSet presAssocID="{65DB5E82-71F2-42AE-B3B2-F3B12FB496B9}" presName="child" presStyleLbl="alignAccFollowNode1" presStyleIdx="7" presStyleCnt="9" custScaleY="132558" custLinFactNeighborX="14227" custLinFactNeighborY="-227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0EB2A8-A552-4989-BB4E-F3ED2DAA26F4}" type="pres">
      <dgm:prSet presAssocID="{8FB9477D-352F-4502-AA79-3E9D4473111E}" presName="sibTrans" presStyleLbl="sibTrans2D1" presStyleIdx="8" presStyleCnt="9"/>
      <dgm:spPr/>
      <dgm:t>
        <a:bodyPr/>
        <a:lstStyle/>
        <a:p>
          <a:endParaRPr lang="en-US"/>
        </a:p>
      </dgm:t>
    </dgm:pt>
    <dgm:pt modelId="{B91637C0-ED69-450E-A818-C01FF575FADA}" type="pres">
      <dgm:prSet presAssocID="{2F523F3A-849D-4051-894C-C13A25155D52}" presName="child" presStyleLbl="alignAccFollowNode1" presStyleIdx="8" presStyleCnt="9" custScaleY="15065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6CF1FFE-2AA8-4283-B587-097F48CECD9E}" type="presOf" srcId="{5FCCCF49-4EB1-4ED5-9494-B0AF3BADA1F1}" destId="{B4E52C8C-9801-474E-B99F-BC77FFD0413E}" srcOrd="0" destOrd="0" presId="urn:microsoft.com/office/officeart/2005/8/layout/lProcess1"/>
    <dgm:cxn modelId="{A0CEE1A5-2E6C-4447-9671-24283A0CBA06}" srcId="{4283946E-F254-4D1F-A53D-453D9EE7CF08}" destId="{65DB5E82-71F2-42AE-B3B2-F3B12FB496B9}" srcOrd="2" destOrd="0" parTransId="{1BC64111-C85C-485C-A732-F49EEC962888}" sibTransId="{8FB9477D-352F-4502-AA79-3E9D4473111E}"/>
    <dgm:cxn modelId="{C3062DE8-086C-4FF3-911F-6C8CC4C0779E}" srcId="{D79D7D69-6FF6-4F5C-B004-23EDA0010555}" destId="{76EFDC70-EDAA-4F6E-A5A2-B7F2C82D2BF7}" srcOrd="2" destOrd="0" parTransId="{F11F8F3F-6EC0-4CB6-BBE3-E14A21892CD8}" sibTransId="{415BED08-59C8-4EB9-A377-D9D858FBBB47}"/>
    <dgm:cxn modelId="{61F19C55-E4BC-4BB2-81F9-8ADD158743E7}" type="presOf" srcId="{415BED08-59C8-4EB9-A377-D9D858FBBB47}" destId="{E1E76C71-8329-43FC-8A59-BB6020FEE772}" srcOrd="0" destOrd="0" presId="urn:microsoft.com/office/officeart/2005/8/layout/lProcess1"/>
    <dgm:cxn modelId="{FB996874-C307-4566-BE8F-5F6A9B8232A7}" srcId="{4283946E-F254-4D1F-A53D-453D9EE7CF08}" destId="{2F523F3A-849D-4051-894C-C13A25155D52}" srcOrd="3" destOrd="0" parTransId="{ADB70EAB-592F-4865-930A-A47337384C62}" sibTransId="{E4668D99-4E30-444F-9B8C-6A56F70E83A0}"/>
    <dgm:cxn modelId="{C924CB69-38C7-40B3-B337-4FCD28D8DC55}" type="presOf" srcId="{BAA790CC-F1FA-498A-962E-B028E76AB1EF}" destId="{C3F32A81-3F78-4F4F-BF40-A88FB5DB4033}" srcOrd="0" destOrd="0" presId="urn:microsoft.com/office/officeart/2005/8/layout/lProcess1"/>
    <dgm:cxn modelId="{E6342CF3-C6A4-4719-886C-CF441DDD042E}" srcId="{64DC6046-7FDC-4F9B-BF0C-CBC33026870A}" destId="{4283946E-F254-4D1F-A53D-453D9EE7CF08}" srcOrd="2" destOrd="0" parTransId="{0B5C1E3F-B221-4248-9E84-96C6D0CD11BF}" sibTransId="{F7688C8D-D596-465B-BF95-F1ED915066A5}"/>
    <dgm:cxn modelId="{F83A6D96-AAB6-4AFA-BC7D-15162F2ACD26}" type="presOf" srcId="{8FB9477D-352F-4502-AA79-3E9D4473111E}" destId="{C60EB2A8-A552-4989-BB4E-F3ED2DAA26F4}" srcOrd="0" destOrd="0" presId="urn:microsoft.com/office/officeart/2005/8/layout/lProcess1"/>
    <dgm:cxn modelId="{09742834-43D8-4779-9AC1-9E46942491C6}" type="presOf" srcId="{62D065A7-983F-47CF-9623-FC8CC818C176}" destId="{605B2229-5DEF-4037-A905-3E57C13DAEBA}" srcOrd="0" destOrd="0" presId="urn:microsoft.com/office/officeart/2005/8/layout/lProcess1"/>
    <dgm:cxn modelId="{DF359076-2EEF-44B0-B01A-4BA0289C78A0}" srcId="{64DC6046-7FDC-4F9B-BF0C-CBC33026870A}" destId="{D79D7D69-6FF6-4F5C-B004-23EDA0010555}" srcOrd="1" destOrd="0" parTransId="{7A2DD67A-1D1E-4360-996A-D9C1368E6105}" sibTransId="{7F5ADE3F-DDB2-4502-A660-B04CDC840202}"/>
    <dgm:cxn modelId="{B1BA2184-FF2A-4CF5-917F-9D98C9BE5502}" type="presOf" srcId="{65DB5E82-71F2-42AE-B3B2-F3B12FB496B9}" destId="{9959D451-7BA9-46D6-A7BB-A8715343552A}" srcOrd="0" destOrd="0" presId="urn:microsoft.com/office/officeart/2005/8/layout/lProcess1"/>
    <dgm:cxn modelId="{CC0B5342-9C54-412A-A81D-9B79B8442487}" type="presOf" srcId="{64DC6046-7FDC-4F9B-BF0C-CBC33026870A}" destId="{16637B41-C3C1-4251-860A-DEE4623B9C87}" srcOrd="0" destOrd="0" presId="urn:microsoft.com/office/officeart/2005/8/layout/lProcess1"/>
    <dgm:cxn modelId="{0E6B44A3-15C9-4250-8A05-0AFD6CE9F544}" type="presOf" srcId="{EAC37A89-306F-4012-81A6-A1743A6A6421}" destId="{2B568F5C-0E66-4032-AAC9-AEAC2A687752}" srcOrd="0" destOrd="0" presId="urn:microsoft.com/office/officeart/2005/8/layout/lProcess1"/>
    <dgm:cxn modelId="{E0ED20DA-4101-4AC2-A41A-3978F0E9807E}" srcId="{BF01A764-7289-4264-B626-7E3EE2736AB8}" destId="{5FCCCF49-4EB1-4ED5-9494-B0AF3BADA1F1}" srcOrd="0" destOrd="0" parTransId="{A6AAC98F-A444-403C-8497-010CDE4FFBFC}" sibTransId="{57D5F697-16AA-45BF-956F-F02E8F2D0F4E}"/>
    <dgm:cxn modelId="{E7E9D9F8-66F3-472D-B1D6-C956869E4FAD}" srcId="{D79D7D69-6FF6-4F5C-B004-23EDA0010555}" destId="{BAA790CC-F1FA-498A-962E-B028E76AB1EF}" srcOrd="0" destOrd="0" parTransId="{21C3F08D-86CA-4AB5-ABE4-33C7E27BBE6B}" sibTransId="{C847DE2B-9696-4CA1-AB4B-0EC704BAC907}"/>
    <dgm:cxn modelId="{5CA4ECF7-A166-493C-B046-91B31E83E2FC}" type="presOf" srcId="{4283946E-F254-4D1F-A53D-453D9EE7CF08}" destId="{F6C976EB-7A8D-49BC-A56C-528CCB53E9AF}" srcOrd="0" destOrd="0" presId="urn:microsoft.com/office/officeart/2005/8/layout/lProcess1"/>
    <dgm:cxn modelId="{F27A6E03-15F5-47B3-86EB-5451CB243E2F}" type="presOf" srcId="{8B848CC6-29AF-4826-84A2-670173A13A08}" destId="{8798FC1E-A175-4F3A-B415-85DDD51F3E75}" srcOrd="0" destOrd="0" presId="urn:microsoft.com/office/officeart/2005/8/layout/lProcess1"/>
    <dgm:cxn modelId="{3A9ED5AF-640E-4082-A4E0-D43A611BD011}" type="presOf" srcId="{21C3F08D-86CA-4AB5-ABE4-33C7E27BBE6B}" destId="{FBF7B23D-0B79-40F6-91EF-3336E094615C}" srcOrd="0" destOrd="0" presId="urn:microsoft.com/office/officeart/2005/8/layout/lProcess1"/>
    <dgm:cxn modelId="{040B88F4-A509-4443-93F8-4F897D03EE75}" type="presOf" srcId="{7337CA75-2F68-43A3-8C79-37F2A4EA9604}" destId="{1F49D33B-D4CC-403F-B779-08204F39A202}" srcOrd="0" destOrd="0" presId="urn:microsoft.com/office/officeart/2005/8/layout/lProcess1"/>
    <dgm:cxn modelId="{C357D2AC-BCA2-4745-8F59-717B171422AA}" srcId="{D79D7D69-6FF6-4F5C-B004-23EDA0010555}" destId="{C62602E2-C7B6-4DD5-BA15-F79C6A25D95A}" srcOrd="1" destOrd="0" parTransId="{CBD08EDD-7E9D-4C48-8E43-3EFFB41C8CF4}" sibTransId="{8B848CC6-29AF-4826-84A2-670173A13A08}"/>
    <dgm:cxn modelId="{0F975E98-9A47-444E-8DA1-7626B8939111}" srcId="{4283946E-F254-4D1F-A53D-453D9EE7CF08}" destId="{EAC37A89-306F-4012-81A6-A1743A6A6421}" srcOrd="0" destOrd="0" parTransId="{121846C7-A5C9-4FBD-9145-A30F3D219630}" sibTransId="{7337CA75-2F68-43A3-8C79-37F2A4EA9604}"/>
    <dgm:cxn modelId="{47874F52-46A8-4220-B0CD-A6CA32D61FF4}" srcId="{64DC6046-7FDC-4F9B-BF0C-CBC33026870A}" destId="{BF01A764-7289-4264-B626-7E3EE2736AB8}" srcOrd="0" destOrd="0" parTransId="{2A70E98F-50ED-475A-8ECE-799B9001238C}" sibTransId="{B3BAF6BA-80D8-429A-A506-F98585243334}"/>
    <dgm:cxn modelId="{C43671CD-10D3-44E1-826E-43F53FFD48C5}" srcId="{D79D7D69-6FF6-4F5C-B004-23EDA0010555}" destId="{62D065A7-983F-47CF-9623-FC8CC818C176}" srcOrd="3" destOrd="0" parTransId="{C43A77F3-725A-49F2-A64E-392DDFA21C5E}" sibTransId="{438F71BE-E599-4ED6-BC68-5BC68051E16F}"/>
    <dgm:cxn modelId="{5BFE9A63-8DC4-4A99-B18B-F98C77EFD2F0}" type="presOf" srcId="{C847DE2B-9696-4CA1-AB4B-0EC704BAC907}" destId="{87A26BF7-6D53-420B-87D3-A6EA231921FB}" srcOrd="0" destOrd="0" presId="urn:microsoft.com/office/officeart/2005/8/layout/lProcess1"/>
    <dgm:cxn modelId="{00647726-A676-44F7-A73B-52825E4E861B}" type="presOf" srcId="{121846C7-A5C9-4FBD-9145-A30F3D219630}" destId="{A2E387B7-B4B1-4E94-B6E6-F8E41A71DE06}" srcOrd="0" destOrd="0" presId="urn:microsoft.com/office/officeart/2005/8/layout/lProcess1"/>
    <dgm:cxn modelId="{29E05F18-919E-403E-B13A-C2264348E67A}" type="presOf" srcId="{D79D7D69-6FF6-4F5C-B004-23EDA0010555}" destId="{1F96383A-B42D-4C48-AC60-6927E029B7B5}" srcOrd="0" destOrd="0" presId="urn:microsoft.com/office/officeart/2005/8/layout/lProcess1"/>
    <dgm:cxn modelId="{5168D1C0-F142-4E2C-A77A-AD2DDA5E882C}" type="presOf" srcId="{A6AAC98F-A444-403C-8497-010CDE4FFBFC}" destId="{19DFEDFC-CE5F-4F72-B9E1-54113BBACBC7}" srcOrd="0" destOrd="0" presId="urn:microsoft.com/office/officeart/2005/8/layout/lProcess1"/>
    <dgm:cxn modelId="{B32B4C37-48A8-4AC0-9949-808F979EC742}" type="presOf" srcId="{C62602E2-C7B6-4DD5-BA15-F79C6A25D95A}" destId="{5BFBD231-2B65-435E-807F-0617EC687955}" srcOrd="0" destOrd="0" presId="urn:microsoft.com/office/officeart/2005/8/layout/lProcess1"/>
    <dgm:cxn modelId="{8AEEBBCB-0D23-4EE0-B9B7-AEC97307617C}" type="presOf" srcId="{16BA387C-B7F9-42A2-B5C3-45F2DBBC17EA}" destId="{8E8A5FF0-F329-4799-ACCB-93AD9C68E120}" srcOrd="0" destOrd="0" presId="urn:microsoft.com/office/officeart/2005/8/layout/lProcess1"/>
    <dgm:cxn modelId="{1AE5E8B0-54C0-4FB9-AF9E-FDA4B806252B}" srcId="{4283946E-F254-4D1F-A53D-453D9EE7CF08}" destId="{16BA387C-B7F9-42A2-B5C3-45F2DBBC17EA}" srcOrd="1" destOrd="0" parTransId="{D377D7BE-6AA9-4819-BC89-F456A01E5B83}" sibTransId="{AC6C51BE-D8EB-4F4D-B0AE-DC90F3CD214D}"/>
    <dgm:cxn modelId="{6E9E199E-BB7B-4651-9245-2FDFE97352B6}" type="presOf" srcId="{2F523F3A-849D-4051-894C-C13A25155D52}" destId="{B91637C0-ED69-450E-A818-C01FF575FADA}" srcOrd="0" destOrd="0" presId="urn:microsoft.com/office/officeart/2005/8/layout/lProcess1"/>
    <dgm:cxn modelId="{826316E5-CB23-48A1-B005-22A76901E081}" type="presOf" srcId="{BF01A764-7289-4264-B626-7E3EE2736AB8}" destId="{41DECD3D-E226-4794-9918-45C791643EE9}" srcOrd="0" destOrd="0" presId="urn:microsoft.com/office/officeart/2005/8/layout/lProcess1"/>
    <dgm:cxn modelId="{CBDA92F8-05DF-442D-A4F1-475DBA55BDC1}" type="presOf" srcId="{AC6C51BE-D8EB-4F4D-B0AE-DC90F3CD214D}" destId="{6F8B1718-15AF-45B9-88B8-8E0097FC9061}" srcOrd="0" destOrd="0" presId="urn:microsoft.com/office/officeart/2005/8/layout/lProcess1"/>
    <dgm:cxn modelId="{C063D77B-696F-4266-B6F6-B00E375B7D99}" type="presOf" srcId="{76EFDC70-EDAA-4F6E-A5A2-B7F2C82D2BF7}" destId="{780CC62F-60E4-4970-A196-25663BE4E4F0}" srcOrd="0" destOrd="0" presId="urn:microsoft.com/office/officeart/2005/8/layout/lProcess1"/>
    <dgm:cxn modelId="{E4C4D20E-D91C-4069-A282-F2047F8BBE99}" type="presParOf" srcId="{16637B41-C3C1-4251-860A-DEE4623B9C87}" destId="{D7B2FB7E-BC93-4D38-B242-C2018FA9DAD1}" srcOrd="0" destOrd="0" presId="urn:microsoft.com/office/officeart/2005/8/layout/lProcess1"/>
    <dgm:cxn modelId="{9116E464-3FE2-4000-B633-908547BF744F}" type="presParOf" srcId="{D7B2FB7E-BC93-4D38-B242-C2018FA9DAD1}" destId="{41DECD3D-E226-4794-9918-45C791643EE9}" srcOrd="0" destOrd="0" presId="urn:microsoft.com/office/officeart/2005/8/layout/lProcess1"/>
    <dgm:cxn modelId="{87DCAFC9-BD2E-4A71-B3E8-0680CEFF2ABD}" type="presParOf" srcId="{D7B2FB7E-BC93-4D38-B242-C2018FA9DAD1}" destId="{19DFEDFC-CE5F-4F72-B9E1-54113BBACBC7}" srcOrd="1" destOrd="0" presId="urn:microsoft.com/office/officeart/2005/8/layout/lProcess1"/>
    <dgm:cxn modelId="{D1DB63A0-3AFD-4822-B53B-C7D8C5C2D22C}" type="presParOf" srcId="{D7B2FB7E-BC93-4D38-B242-C2018FA9DAD1}" destId="{B4E52C8C-9801-474E-B99F-BC77FFD0413E}" srcOrd="2" destOrd="0" presId="urn:microsoft.com/office/officeart/2005/8/layout/lProcess1"/>
    <dgm:cxn modelId="{B3F5EB32-3689-4FF3-91EA-3F4DDCC0F9D1}" type="presParOf" srcId="{16637B41-C3C1-4251-860A-DEE4623B9C87}" destId="{6A9D8501-E826-46E5-81F0-1BB56E8EBF87}" srcOrd="1" destOrd="0" presId="urn:microsoft.com/office/officeart/2005/8/layout/lProcess1"/>
    <dgm:cxn modelId="{5DB93DA1-BD53-443B-969D-643F48060A8D}" type="presParOf" srcId="{16637B41-C3C1-4251-860A-DEE4623B9C87}" destId="{8B52BAE8-19A7-491C-B010-13DE661D0D1B}" srcOrd="2" destOrd="0" presId="urn:microsoft.com/office/officeart/2005/8/layout/lProcess1"/>
    <dgm:cxn modelId="{F5ED30A0-0247-4A1B-B491-82953C275825}" type="presParOf" srcId="{8B52BAE8-19A7-491C-B010-13DE661D0D1B}" destId="{1F96383A-B42D-4C48-AC60-6927E029B7B5}" srcOrd="0" destOrd="0" presId="urn:microsoft.com/office/officeart/2005/8/layout/lProcess1"/>
    <dgm:cxn modelId="{0D0FB1F3-D544-4F67-897B-0F51820805F5}" type="presParOf" srcId="{8B52BAE8-19A7-491C-B010-13DE661D0D1B}" destId="{FBF7B23D-0B79-40F6-91EF-3336E094615C}" srcOrd="1" destOrd="0" presId="urn:microsoft.com/office/officeart/2005/8/layout/lProcess1"/>
    <dgm:cxn modelId="{AC1EB9D6-7FB0-47B5-8CB0-81461F484C43}" type="presParOf" srcId="{8B52BAE8-19A7-491C-B010-13DE661D0D1B}" destId="{C3F32A81-3F78-4F4F-BF40-A88FB5DB4033}" srcOrd="2" destOrd="0" presId="urn:microsoft.com/office/officeart/2005/8/layout/lProcess1"/>
    <dgm:cxn modelId="{B1DFDD5B-CF35-4D8D-BB07-F12B888B1A3B}" type="presParOf" srcId="{8B52BAE8-19A7-491C-B010-13DE661D0D1B}" destId="{87A26BF7-6D53-420B-87D3-A6EA231921FB}" srcOrd="3" destOrd="0" presId="urn:microsoft.com/office/officeart/2005/8/layout/lProcess1"/>
    <dgm:cxn modelId="{35852526-9005-49C2-8DF1-8E30D13F8459}" type="presParOf" srcId="{8B52BAE8-19A7-491C-B010-13DE661D0D1B}" destId="{5BFBD231-2B65-435E-807F-0617EC687955}" srcOrd="4" destOrd="0" presId="urn:microsoft.com/office/officeart/2005/8/layout/lProcess1"/>
    <dgm:cxn modelId="{4E5FDEC5-3D3F-4E20-BEA3-11CB65851766}" type="presParOf" srcId="{8B52BAE8-19A7-491C-B010-13DE661D0D1B}" destId="{8798FC1E-A175-4F3A-B415-85DDD51F3E75}" srcOrd="5" destOrd="0" presId="urn:microsoft.com/office/officeart/2005/8/layout/lProcess1"/>
    <dgm:cxn modelId="{A90EFE05-11B6-4465-8166-A8AA83A9993E}" type="presParOf" srcId="{8B52BAE8-19A7-491C-B010-13DE661D0D1B}" destId="{780CC62F-60E4-4970-A196-25663BE4E4F0}" srcOrd="6" destOrd="0" presId="urn:microsoft.com/office/officeart/2005/8/layout/lProcess1"/>
    <dgm:cxn modelId="{0FAF7509-6D80-4FD3-ACAA-D2C109666676}" type="presParOf" srcId="{8B52BAE8-19A7-491C-B010-13DE661D0D1B}" destId="{E1E76C71-8329-43FC-8A59-BB6020FEE772}" srcOrd="7" destOrd="0" presId="urn:microsoft.com/office/officeart/2005/8/layout/lProcess1"/>
    <dgm:cxn modelId="{76D459D5-0BE7-46E0-8D18-642B011FC501}" type="presParOf" srcId="{8B52BAE8-19A7-491C-B010-13DE661D0D1B}" destId="{605B2229-5DEF-4037-A905-3E57C13DAEBA}" srcOrd="8" destOrd="0" presId="urn:microsoft.com/office/officeart/2005/8/layout/lProcess1"/>
    <dgm:cxn modelId="{5B5BC0F1-FF5A-4133-BEA2-6319910C1F0A}" type="presParOf" srcId="{16637B41-C3C1-4251-860A-DEE4623B9C87}" destId="{3717B0B3-E6F3-4546-BB52-E31DCDFDE940}" srcOrd="3" destOrd="0" presId="urn:microsoft.com/office/officeart/2005/8/layout/lProcess1"/>
    <dgm:cxn modelId="{33A7AE4E-858D-4214-AEC3-FBD3D58632E7}" type="presParOf" srcId="{16637B41-C3C1-4251-860A-DEE4623B9C87}" destId="{9B07AD11-AB1B-4337-9995-E5A1D1EBA5BA}" srcOrd="4" destOrd="0" presId="urn:microsoft.com/office/officeart/2005/8/layout/lProcess1"/>
    <dgm:cxn modelId="{7F4655FF-45A6-47BC-99CC-A3F5A067B6B9}" type="presParOf" srcId="{9B07AD11-AB1B-4337-9995-E5A1D1EBA5BA}" destId="{F6C976EB-7A8D-49BC-A56C-528CCB53E9AF}" srcOrd="0" destOrd="0" presId="urn:microsoft.com/office/officeart/2005/8/layout/lProcess1"/>
    <dgm:cxn modelId="{352C4573-48D1-4D64-A2B0-57BD73B061AE}" type="presParOf" srcId="{9B07AD11-AB1B-4337-9995-E5A1D1EBA5BA}" destId="{A2E387B7-B4B1-4E94-B6E6-F8E41A71DE06}" srcOrd="1" destOrd="0" presId="urn:microsoft.com/office/officeart/2005/8/layout/lProcess1"/>
    <dgm:cxn modelId="{F9996C04-FF50-4579-BDA7-CCB053DA338A}" type="presParOf" srcId="{9B07AD11-AB1B-4337-9995-E5A1D1EBA5BA}" destId="{2B568F5C-0E66-4032-AAC9-AEAC2A687752}" srcOrd="2" destOrd="0" presId="urn:microsoft.com/office/officeart/2005/8/layout/lProcess1"/>
    <dgm:cxn modelId="{43F3AB43-741B-4637-AD41-95C74B065472}" type="presParOf" srcId="{9B07AD11-AB1B-4337-9995-E5A1D1EBA5BA}" destId="{1F49D33B-D4CC-403F-B779-08204F39A202}" srcOrd="3" destOrd="0" presId="urn:microsoft.com/office/officeart/2005/8/layout/lProcess1"/>
    <dgm:cxn modelId="{48AFC6DE-C490-4232-B720-85B2E4A7250E}" type="presParOf" srcId="{9B07AD11-AB1B-4337-9995-E5A1D1EBA5BA}" destId="{8E8A5FF0-F329-4799-ACCB-93AD9C68E120}" srcOrd="4" destOrd="0" presId="urn:microsoft.com/office/officeart/2005/8/layout/lProcess1"/>
    <dgm:cxn modelId="{9896337D-04E8-481B-A82E-D8E6C212E387}" type="presParOf" srcId="{9B07AD11-AB1B-4337-9995-E5A1D1EBA5BA}" destId="{6F8B1718-15AF-45B9-88B8-8E0097FC9061}" srcOrd="5" destOrd="0" presId="urn:microsoft.com/office/officeart/2005/8/layout/lProcess1"/>
    <dgm:cxn modelId="{9CA2FFBA-5E93-46B3-9E9A-EF456B15EBE3}" type="presParOf" srcId="{9B07AD11-AB1B-4337-9995-E5A1D1EBA5BA}" destId="{9959D451-7BA9-46D6-A7BB-A8715343552A}" srcOrd="6" destOrd="0" presId="urn:microsoft.com/office/officeart/2005/8/layout/lProcess1"/>
    <dgm:cxn modelId="{F0977649-9887-4F5D-B19B-23266CF50F0C}" type="presParOf" srcId="{9B07AD11-AB1B-4337-9995-E5A1D1EBA5BA}" destId="{C60EB2A8-A552-4989-BB4E-F3ED2DAA26F4}" srcOrd="7" destOrd="0" presId="urn:microsoft.com/office/officeart/2005/8/layout/lProcess1"/>
    <dgm:cxn modelId="{C06341BF-D9A9-4C06-9029-69B08D922E76}" type="presParOf" srcId="{9B07AD11-AB1B-4337-9995-E5A1D1EBA5BA}" destId="{B91637C0-ED69-450E-A818-C01FF575FADA}" srcOrd="8" destOrd="0" presId="urn:microsoft.com/office/officeart/2005/8/layout/lProcess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D1A2CA-6C3B-4914-AE20-648CBB26DADF}" type="doc">
      <dgm:prSet loTypeId="urn:microsoft.com/office/officeart/2005/8/layout/hierarchy3" loCatId="list" qsTypeId="urn:microsoft.com/office/officeart/2005/8/quickstyle/simple1" qsCatId="simple" csTypeId="urn:microsoft.com/office/officeart/2005/8/colors/accent4_5" csCatId="accent4" phldr="1"/>
      <dgm:spPr/>
      <dgm:t>
        <a:bodyPr/>
        <a:lstStyle/>
        <a:p>
          <a:endParaRPr lang="en-US"/>
        </a:p>
      </dgm:t>
    </dgm:pt>
    <dgm:pt modelId="{F5435FF6-E102-4EC1-B600-A6B1AA9A4DED}">
      <dgm:prSet phldrT="[Text]" custT="1"/>
      <dgm:spPr/>
      <dgm:t>
        <a:bodyPr/>
        <a:lstStyle/>
        <a:p>
          <a:r>
            <a:rPr lang="en-US" sz="1800" dirty="0"/>
            <a:t>Outreach</a:t>
          </a:r>
        </a:p>
      </dgm:t>
    </dgm:pt>
    <dgm:pt modelId="{15816DC7-DD1E-4D6B-B4E4-DB77DDEE5C4B}" type="parTrans" cxnId="{08C8C738-DD66-42C5-813F-A8001AD97CC8}">
      <dgm:prSet/>
      <dgm:spPr/>
      <dgm:t>
        <a:bodyPr/>
        <a:lstStyle/>
        <a:p>
          <a:endParaRPr lang="en-US" sz="2000"/>
        </a:p>
      </dgm:t>
    </dgm:pt>
    <dgm:pt modelId="{46DB4B13-19AA-49CA-854E-185BB5770DB3}" type="sibTrans" cxnId="{08C8C738-DD66-42C5-813F-A8001AD97CC8}">
      <dgm:prSet/>
      <dgm:spPr/>
      <dgm:t>
        <a:bodyPr/>
        <a:lstStyle/>
        <a:p>
          <a:endParaRPr lang="en-US" sz="2000"/>
        </a:p>
      </dgm:t>
    </dgm:pt>
    <dgm:pt modelId="{283BC570-C274-4FC8-94A4-B2B068A272B9}">
      <dgm:prSet phldrT="[Text]" custT="1"/>
      <dgm:spPr/>
      <dgm:t>
        <a:bodyPr/>
        <a:lstStyle/>
        <a:p>
          <a:r>
            <a:rPr lang="en-US" sz="1200" dirty="0"/>
            <a:t>Peer Lead education and social </a:t>
          </a:r>
          <a:r>
            <a:rPr lang="en-US" sz="1200" dirty="0" err="1"/>
            <a:t>mobilisation</a:t>
          </a:r>
          <a:r>
            <a:rPr lang="en-US" sz="1200" dirty="0"/>
            <a:t>  </a:t>
          </a:r>
        </a:p>
      </dgm:t>
    </dgm:pt>
    <dgm:pt modelId="{608C65F0-F38F-4097-A48C-F45858B3CEB2}" type="parTrans" cxnId="{3956A008-5FFB-473F-9459-03935438AE6C}">
      <dgm:prSet/>
      <dgm:spPr/>
      <dgm:t>
        <a:bodyPr/>
        <a:lstStyle/>
        <a:p>
          <a:endParaRPr lang="en-US" sz="2000"/>
        </a:p>
      </dgm:t>
    </dgm:pt>
    <dgm:pt modelId="{C2E5B002-747C-498A-9C79-10A92ABA2D1E}" type="sibTrans" cxnId="{3956A008-5FFB-473F-9459-03935438AE6C}">
      <dgm:prSet/>
      <dgm:spPr/>
      <dgm:t>
        <a:bodyPr/>
        <a:lstStyle/>
        <a:p>
          <a:endParaRPr lang="en-US" sz="2000"/>
        </a:p>
      </dgm:t>
    </dgm:pt>
    <dgm:pt modelId="{F864642C-6607-4F08-8BC6-68B5B58ACC50}">
      <dgm:prSet phldrT="[Text]" custT="1"/>
      <dgm:spPr/>
      <dgm:t>
        <a:bodyPr/>
        <a:lstStyle/>
        <a:p>
          <a:r>
            <a:rPr lang="en-US" sz="1200" dirty="0"/>
            <a:t>Pre &amp; post test counselling</a:t>
          </a:r>
        </a:p>
      </dgm:t>
    </dgm:pt>
    <dgm:pt modelId="{FF226748-AF58-4CED-A3C1-9B381469CF6E}" type="parTrans" cxnId="{17EC12F7-6EFF-4ED6-9AA1-4557152E5D83}">
      <dgm:prSet/>
      <dgm:spPr/>
      <dgm:t>
        <a:bodyPr/>
        <a:lstStyle/>
        <a:p>
          <a:endParaRPr lang="en-US" sz="2000"/>
        </a:p>
      </dgm:t>
    </dgm:pt>
    <dgm:pt modelId="{0E7EFE79-C6DA-498A-BA5F-1DA5A0F14B93}" type="sibTrans" cxnId="{17EC12F7-6EFF-4ED6-9AA1-4557152E5D83}">
      <dgm:prSet/>
      <dgm:spPr/>
      <dgm:t>
        <a:bodyPr/>
        <a:lstStyle/>
        <a:p>
          <a:endParaRPr lang="en-US" sz="2000"/>
        </a:p>
      </dgm:t>
    </dgm:pt>
    <dgm:pt modelId="{11F49177-3995-4BCD-A564-5EE341E9C66B}">
      <dgm:prSet phldrT="[Text]" custT="1"/>
      <dgm:spPr/>
      <dgm:t>
        <a:bodyPr/>
        <a:lstStyle/>
        <a:p>
          <a:r>
            <a:rPr lang="en-US" sz="1800" dirty="0"/>
            <a:t>SRH &amp; PHC</a:t>
          </a:r>
        </a:p>
      </dgm:t>
    </dgm:pt>
    <dgm:pt modelId="{B4505D65-5293-4FF9-BB04-37D7BFAAD0F0}" type="parTrans" cxnId="{8CF7E890-9B64-4867-91A3-718F0C945DE3}">
      <dgm:prSet/>
      <dgm:spPr/>
      <dgm:t>
        <a:bodyPr/>
        <a:lstStyle/>
        <a:p>
          <a:endParaRPr lang="en-US" sz="2000"/>
        </a:p>
      </dgm:t>
    </dgm:pt>
    <dgm:pt modelId="{2DD39ADB-8B6B-4EF4-89E3-9191429A6B0F}" type="sibTrans" cxnId="{8CF7E890-9B64-4867-91A3-718F0C945DE3}">
      <dgm:prSet/>
      <dgm:spPr/>
      <dgm:t>
        <a:bodyPr/>
        <a:lstStyle/>
        <a:p>
          <a:endParaRPr lang="en-US" sz="2000"/>
        </a:p>
      </dgm:t>
    </dgm:pt>
    <dgm:pt modelId="{C9594DF4-2AB0-46F3-9177-05970F554090}">
      <dgm:prSet phldrT="[Text]" custT="1"/>
      <dgm:spPr/>
      <dgm:t>
        <a:bodyPr/>
        <a:lstStyle/>
        <a:p>
          <a:r>
            <a:rPr lang="en-US" sz="1200" dirty="0"/>
            <a:t>STI  &amp; TB screening &amp; treatment</a:t>
          </a:r>
        </a:p>
      </dgm:t>
    </dgm:pt>
    <dgm:pt modelId="{8F471ED4-EBCE-4CBE-9E48-E2AC47EE0F0A}" type="parTrans" cxnId="{719CD0E8-A5D6-4E4A-83EA-5F558FE1B344}">
      <dgm:prSet/>
      <dgm:spPr/>
      <dgm:t>
        <a:bodyPr/>
        <a:lstStyle/>
        <a:p>
          <a:endParaRPr lang="en-US" sz="2000"/>
        </a:p>
      </dgm:t>
    </dgm:pt>
    <dgm:pt modelId="{EAE55480-F010-4928-8299-EC03C64F31AD}" type="sibTrans" cxnId="{719CD0E8-A5D6-4E4A-83EA-5F558FE1B344}">
      <dgm:prSet/>
      <dgm:spPr/>
      <dgm:t>
        <a:bodyPr/>
        <a:lstStyle/>
        <a:p>
          <a:endParaRPr lang="en-US" sz="2000"/>
        </a:p>
      </dgm:t>
    </dgm:pt>
    <dgm:pt modelId="{E79A5279-FCB8-487B-8C48-D407CE6D8430}">
      <dgm:prSet custT="1"/>
      <dgm:spPr/>
      <dgm:t>
        <a:bodyPr/>
        <a:lstStyle/>
        <a:p>
          <a:r>
            <a:rPr lang="en-US" sz="1800" dirty="0"/>
            <a:t>Combination Prevention</a:t>
          </a:r>
        </a:p>
      </dgm:t>
    </dgm:pt>
    <dgm:pt modelId="{DF1FC51D-50E9-41FD-A779-7C6DB03D1294}" type="parTrans" cxnId="{B31E180F-0F6C-497E-9A23-58EED755B30F}">
      <dgm:prSet/>
      <dgm:spPr/>
      <dgm:t>
        <a:bodyPr/>
        <a:lstStyle/>
        <a:p>
          <a:endParaRPr lang="en-US" sz="2000"/>
        </a:p>
      </dgm:t>
    </dgm:pt>
    <dgm:pt modelId="{B9F0F971-8546-48D8-AD9D-997101D98F32}" type="sibTrans" cxnId="{B31E180F-0F6C-497E-9A23-58EED755B30F}">
      <dgm:prSet/>
      <dgm:spPr/>
      <dgm:t>
        <a:bodyPr/>
        <a:lstStyle/>
        <a:p>
          <a:endParaRPr lang="en-US" sz="2000"/>
        </a:p>
      </dgm:t>
    </dgm:pt>
    <dgm:pt modelId="{B319BAD1-AF3E-47CE-9B0E-C4206BD9D8D0}">
      <dgm:prSet custT="1"/>
      <dgm:spPr/>
      <dgm:t>
        <a:bodyPr/>
        <a:lstStyle/>
        <a:p>
          <a:r>
            <a:rPr lang="en-US" sz="1800" dirty="0"/>
            <a:t>Psychosocial support</a:t>
          </a:r>
        </a:p>
      </dgm:t>
    </dgm:pt>
    <dgm:pt modelId="{3D9E5F54-0BD3-4DF0-862F-A3378E0CE63E}" type="parTrans" cxnId="{A12FEAB8-277A-471F-B582-F144EDB92613}">
      <dgm:prSet/>
      <dgm:spPr/>
      <dgm:t>
        <a:bodyPr/>
        <a:lstStyle/>
        <a:p>
          <a:endParaRPr lang="en-US" sz="2000"/>
        </a:p>
      </dgm:t>
    </dgm:pt>
    <dgm:pt modelId="{C9EBA853-156F-4C08-AA7C-B6B54D3A9203}" type="sibTrans" cxnId="{A12FEAB8-277A-471F-B582-F144EDB92613}">
      <dgm:prSet/>
      <dgm:spPr/>
      <dgm:t>
        <a:bodyPr/>
        <a:lstStyle/>
        <a:p>
          <a:endParaRPr lang="en-US" sz="2000"/>
        </a:p>
      </dgm:t>
    </dgm:pt>
    <dgm:pt modelId="{3A463C24-063D-45AA-B8D4-428F39A070EC}">
      <dgm:prSet custT="1"/>
      <dgm:spPr/>
      <dgm:t>
        <a:bodyPr/>
        <a:lstStyle/>
        <a:p>
          <a:r>
            <a:rPr lang="en-US" sz="1800" dirty="0"/>
            <a:t>Treatment</a:t>
          </a:r>
          <a:endParaRPr lang="en-US" sz="1800" dirty="0">
            <a:solidFill>
              <a:srgbClr val="FF0000"/>
            </a:solidFill>
          </a:endParaRPr>
        </a:p>
      </dgm:t>
    </dgm:pt>
    <dgm:pt modelId="{3A2AF969-3A4D-417D-AB86-A5D4578638A5}" type="parTrans" cxnId="{52016298-07B5-439C-8A41-FF76F595AD6D}">
      <dgm:prSet/>
      <dgm:spPr/>
      <dgm:t>
        <a:bodyPr/>
        <a:lstStyle/>
        <a:p>
          <a:endParaRPr lang="en-US" sz="2000"/>
        </a:p>
      </dgm:t>
    </dgm:pt>
    <dgm:pt modelId="{0F673F30-E91F-415B-89AE-27A393C0B0D5}" type="sibTrans" cxnId="{52016298-07B5-439C-8A41-FF76F595AD6D}">
      <dgm:prSet/>
      <dgm:spPr/>
      <dgm:t>
        <a:bodyPr/>
        <a:lstStyle/>
        <a:p>
          <a:endParaRPr lang="en-US" sz="2000"/>
        </a:p>
      </dgm:t>
    </dgm:pt>
    <dgm:pt modelId="{F1FF0787-5BCB-4E17-A694-FF1FD0BB9CED}">
      <dgm:prSet phldrT="[Text]" custT="1"/>
      <dgm:spPr/>
      <dgm:t>
        <a:bodyPr/>
        <a:lstStyle/>
        <a:p>
          <a:r>
            <a:rPr lang="en-US" sz="1200" dirty="0"/>
            <a:t>Outreach</a:t>
          </a:r>
        </a:p>
      </dgm:t>
    </dgm:pt>
    <dgm:pt modelId="{1B95FAD2-2425-4264-B1BC-7FDF6BC3FA27}" type="parTrans" cxnId="{27EB66D1-61DE-4239-9085-2A5519EDA215}">
      <dgm:prSet/>
      <dgm:spPr/>
      <dgm:t>
        <a:bodyPr/>
        <a:lstStyle/>
        <a:p>
          <a:endParaRPr lang="en-US" sz="2000"/>
        </a:p>
      </dgm:t>
    </dgm:pt>
    <dgm:pt modelId="{1D86D84E-BEAD-4C3D-8224-10AF56E5DC7D}" type="sibTrans" cxnId="{27EB66D1-61DE-4239-9085-2A5519EDA215}">
      <dgm:prSet/>
      <dgm:spPr/>
      <dgm:t>
        <a:bodyPr/>
        <a:lstStyle/>
        <a:p>
          <a:endParaRPr lang="en-US" sz="2000"/>
        </a:p>
      </dgm:t>
    </dgm:pt>
    <dgm:pt modelId="{B88C5242-732C-4783-BD5E-61A8B692FC66}">
      <dgm:prSet phldrT="[Text]" custT="1"/>
      <dgm:spPr/>
      <dgm:t>
        <a:bodyPr/>
        <a:lstStyle/>
        <a:p>
          <a:r>
            <a:rPr lang="en-US" sz="1200" dirty="0"/>
            <a:t>Linkage to care</a:t>
          </a:r>
        </a:p>
      </dgm:t>
    </dgm:pt>
    <dgm:pt modelId="{4199130D-4943-4943-AFE5-1902E034C0BD}" type="parTrans" cxnId="{274A6C8C-A5F9-4665-9E2E-0AE46C88B314}">
      <dgm:prSet/>
      <dgm:spPr/>
      <dgm:t>
        <a:bodyPr/>
        <a:lstStyle/>
        <a:p>
          <a:endParaRPr lang="en-US" sz="2000"/>
        </a:p>
      </dgm:t>
    </dgm:pt>
    <dgm:pt modelId="{49ADDCC0-89D0-4074-987E-D1D827DFA29D}" type="sibTrans" cxnId="{274A6C8C-A5F9-4665-9E2E-0AE46C88B314}">
      <dgm:prSet/>
      <dgm:spPr/>
      <dgm:t>
        <a:bodyPr/>
        <a:lstStyle/>
        <a:p>
          <a:endParaRPr lang="en-US" sz="2000"/>
        </a:p>
      </dgm:t>
    </dgm:pt>
    <dgm:pt modelId="{06DD7B3E-4102-457F-B93D-CC4FF6A41B68}">
      <dgm:prSet phldrT="[Text]" custT="1"/>
      <dgm:spPr/>
      <dgm:t>
        <a:bodyPr/>
        <a:lstStyle/>
        <a:p>
          <a:r>
            <a:rPr lang="en-US" sz="1200" dirty="0"/>
            <a:t>Contraception</a:t>
          </a:r>
        </a:p>
      </dgm:t>
    </dgm:pt>
    <dgm:pt modelId="{22AE29A9-5888-41C1-BBDF-9F06E04DBA43}" type="parTrans" cxnId="{EBD80D4C-A377-471D-B92B-26A5013104D8}">
      <dgm:prSet/>
      <dgm:spPr/>
      <dgm:t>
        <a:bodyPr/>
        <a:lstStyle/>
        <a:p>
          <a:endParaRPr lang="en-US" sz="2000"/>
        </a:p>
      </dgm:t>
    </dgm:pt>
    <dgm:pt modelId="{F8C8A30D-F9BF-4A54-A08E-ED04EAAE8418}" type="sibTrans" cxnId="{EBD80D4C-A377-471D-B92B-26A5013104D8}">
      <dgm:prSet/>
      <dgm:spPr/>
      <dgm:t>
        <a:bodyPr/>
        <a:lstStyle/>
        <a:p>
          <a:endParaRPr lang="en-US" sz="2000"/>
        </a:p>
      </dgm:t>
    </dgm:pt>
    <dgm:pt modelId="{3CE97BDB-A12F-4134-9D35-8E233CC0D9CE}">
      <dgm:prSet phldrT="[Text]" custT="1"/>
      <dgm:spPr/>
      <dgm:t>
        <a:bodyPr/>
        <a:lstStyle/>
        <a:p>
          <a:r>
            <a:rPr lang="en-US" sz="1200" dirty="0"/>
            <a:t>PAP smears</a:t>
          </a:r>
        </a:p>
      </dgm:t>
    </dgm:pt>
    <dgm:pt modelId="{E7E6CD91-02A8-48AF-9571-FA5F3CE167F7}" type="parTrans" cxnId="{AE496818-37D8-4DC5-8C7D-D835150471FB}">
      <dgm:prSet/>
      <dgm:spPr/>
      <dgm:t>
        <a:bodyPr/>
        <a:lstStyle/>
        <a:p>
          <a:endParaRPr lang="en-US" sz="2000"/>
        </a:p>
      </dgm:t>
    </dgm:pt>
    <dgm:pt modelId="{F72DD7EC-205A-45CB-A6DD-C8680EF9916A}" type="sibTrans" cxnId="{AE496818-37D8-4DC5-8C7D-D835150471FB}">
      <dgm:prSet/>
      <dgm:spPr/>
      <dgm:t>
        <a:bodyPr/>
        <a:lstStyle/>
        <a:p>
          <a:endParaRPr lang="en-US" sz="2000"/>
        </a:p>
      </dgm:t>
    </dgm:pt>
    <dgm:pt modelId="{E1365CBB-820C-4D7B-A326-2F063FAD7445}">
      <dgm:prSet phldrT="[Text]" custT="1"/>
      <dgm:spPr/>
      <dgm:t>
        <a:bodyPr/>
        <a:lstStyle/>
        <a:p>
          <a:r>
            <a:rPr lang="en-US" sz="1200" dirty="0"/>
            <a:t>Emergency contraception</a:t>
          </a:r>
        </a:p>
      </dgm:t>
    </dgm:pt>
    <dgm:pt modelId="{C2700C15-A995-407E-9FDF-6D5EBA894027}" type="parTrans" cxnId="{1030CBD0-9FCA-4A48-9524-0CB62DDABB39}">
      <dgm:prSet/>
      <dgm:spPr/>
      <dgm:t>
        <a:bodyPr/>
        <a:lstStyle/>
        <a:p>
          <a:endParaRPr lang="en-US" sz="2000"/>
        </a:p>
      </dgm:t>
    </dgm:pt>
    <dgm:pt modelId="{15405B9F-49CD-461F-AD1A-EFB668745502}" type="sibTrans" cxnId="{1030CBD0-9FCA-4A48-9524-0CB62DDABB39}">
      <dgm:prSet/>
      <dgm:spPr/>
      <dgm:t>
        <a:bodyPr/>
        <a:lstStyle/>
        <a:p>
          <a:endParaRPr lang="en-US" sz="2000"/>
        </a:p>
      </dgm:t>
    </dgm:pt>
    <dgm:pt modelId="{8E636ADB-D24A-4DEC-B5DD-0507212F5A70}">
      <dgm:prSet phldrT="[Text]" custT="1"/>
      <dgm:spPr/>
      <dgm:t>
        <a:bodyPr/>
        <a:lstStyle/>
        <a:p>
          <a:r>
            <a:rPr lang="en-US" sz="1200" dirty="0"/>
            <a:t>CTOP</a:t>
          </a:r>
        </a:p>
      </dgm:t>
    </dgm:pt>
    <dgm:pt modelId="{9D0BE036-F237-480A-8501-F4A88A017B99}" type="parTrans" cxnId="{DFFD893C-A01D-436E-8D7B-EE8D52BB730D}">
      <dgm:prSet/>
      <dgm:spPr/>
      <dgm:t>
        <a:bodyPr/>
        <a:lstStyle/>
        <a:p>
          <a:endParaRPr lang="en-US" sz="2000"/>
        </a:p>
      </dgm:t>
    </dgm:pt>
    <dgm:pt modelId="{F7861A2A-A6A4-484A-9492-DA6E8172C002}" type="sibTrans" cxnId="{DFFD893C-A01D-436E-8D7B-EE8D52BB730D}">
      <dgm:prSet/>
      <dgm:spPr/>
      <dgm:t>
        <a:bodyPr/>
        <a:lstStyle/>
        <a:p>
          <a:endParaRPr lang="en-US" sz="2000"/>
        </a:p>
      </dgm:t>
    </dgm:pt>
    <dgm:pt modelId="{3FA21111-6681-49E5-BC7C-86313B54A861}">
      <dgm:prSet custT="1"/>
      <dgm:spPr/>
      <dgm:t>
        <a:bodyPr/>
        <a:lstStyle/>
        <a:p>
          <a:r>
            <a:rPr lang="en-US" sz="1200" dirty="0"/>
            <a:t>Risk reduction counselling</a:t>
          </a:r>
        </a:p>
      </dgm:t>
    </dgm:pt>
    <dgm:pt modelId="{CF8E5254-4625-41CE-B927-A311E77A47F1}" type="parTrans" cxnId="{31A82898-DB66-471C-A7EE-6ECDBF0F9435}">
      <dgm:prSet/>
      <dgm:spPr/>
      <dgm:t>
        <a:bodyPr/>
        <a:lstStyle/>
        <a:p>
          <a:endParaRPr lang="en-US" sz="2000"/>
        </a:p>
      </dgm:t>
    </dgm:pt>
    <dgm:pt modelId="{FAC3F1DD-4875-4229-B6FB-4C80F5944D81}" type="sibTrans" cxnId="{31A82898-DB66-471C-A7EE-6ECDBF0F9435}">
      <dgm:prSet/>
      <dgm:spPr/>
      <dgm:t>
        <a:bodyPr/>
        <a:lstStyle/>
        <a:p>
          <a:endParaRPr lang="en-US" sz="2000"/>
        </a:p>
      </dgm:t>
    </dgm:pt>
    <dgm:pt modelId="{C917278E-C1BF-41B3-AFFE-D4753C963A18}">
      <dgm:prSet custT="1"/>
      <dgm:spPr/>
      <dgm:t>
        <a:bodyPr/>
        <a:lstStyle/>
        <a:p>
          <a:r>
            <a:rPr lang="en-US" sz="1200" dirty="0"/>
            <a:t>Condoms (male &amp; female) &amp; lubricants</a:t>
          </a:r>
        </a:p>
      </dgm:t>
    </dgm:pt>
    <dgm:pt modelId="{42EABA6A-814F-4CBE-9D22-75991D639F55}" type="parTrans" cxnId="{F882D87D-56B2-4D29-AEF6-A411DB1882FE}">
      <dgm:prSet/>
      <dgm:spPr/>
      <dgm:t>
        <a:bodyPr/>
        <a:lstStyle/>
        <a:p>
          <a:endParaRPr lang="en-US" sz="2000"/>
        </a:p>
      </dgm:t>
    </dgm:pt>
    <dgm:pt modelId="{E60FD155-EE05-4426-B3BA-048532B2EDA2}" type="sibTrans" cxnId="{F882D87D-56B2-4D29-AEF6-A411DB1882FE}">
      <dgm:prSet/>
      <dgm:spPr/>
      <dgm:t>
        <a:bodyPr/>
        <a:lstStyle/>
        <a:p>
          <a:endParaRPr lang="en-US" sz="2000"/>
        </a:p>
      </dgm:t>
    </dgm:pt>
    <dgm:pt modelId="{F5F2B386-981B-4EFA-9D74-7102D518B3FF}">
      <dgm:prSet custT="1"/>
      <dgm:spPr/>
      <dgm:t>
        <a:bodyPr/>
        <a:lstStyle/>
        <a:p>
          <a:r>
            <a:rPr lang="en-US" sz="1200" dirty="0"/>
            <a:t>PEP</a:t>
          </a:r>
        </a:p>
      </dgm:t>
    </dgm:pt>
    <dgm:pt modelId="{8DDF91CC-6433-4DE5-89AB-F16EC4FAB4DF}" type="parTrans" cxnId="{106D2F3A-41C5-421F-88BD-2EA86C22D1ED}">
      <dgm:prSet/>
      <dgm:spPr/>
      <dgm:t>
        <a:bodyPr/>
        <a:lstStyle/>
        <a:p>
          <a:endParaRPr lang="en-US" sz="2000"/>
        </a:p>
      </dgm:t>
    </dgm:pt>
    <dgm:pt modelId="{F6B11F20-AC36-4EF6-8005-0FE925AD6203}" type="sibTrans" cxnId="{106D2F3A-41C5-421F-88BD-2EA86C22D1ED}">
      <dgm:prSet/>
      <dgm:spPr/>
      <dgm:t>
        <a:bodyPr/>
        <a:lstStyle/>
        <a:p>
          <a:endParaRPr lang="en-US" sz="2000"/>
        </a:p>
      </dgm:t>
    </dgm:pt>
    <dgm:pt modelId="{04FCE50A-35CA-4590-BBAC-78EF163BA66E}">
      <dgm:prSet custT="1"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sz="1800" b="1" dirty="0"/>
            <a:t>PrEP</a:t>
          </a:r>
        </a:p>
      </dgm:t>
    </dgm:pt>
    <dgm:pt modelId="{F4886406-1AB9-4445-B266-6B4FEAAE36A2}" type="parTrans" cxnId="{E9977B99-B911-48B3-BE76-44F45080A6CB}">
      <dgm:prSet/>
      <dgm:spPr/>
      <dgm:t>
        <a:bodyPr/>
        <a:lstStyle/>
        <a:p>
          <a:endParaRPr lang="en-US" sz="2000"/>
        </a:p>
      </dgm:t>
    </dgm:pt>
    <dgm:pt modelId="{844BBA03-8649-403E-833B-DB15F63E47C5}" type="sibTrans" cxnId="{E9977B99-B911-48B3-BE76-44F45080A6CB}">
      <dgm:prSet/>
      <dgm:spPr/>
      <dgm:t>
        <a:bodyPr/>
        <a:lstStyle/>
        <a:p>
          <a:endParaRPr lang="en-US" sz="2000"/>
        </a:p>
      </dgm:t>
    </dgm:pt>
    <dgm:pt modelId="{B93D1667-EFAC-44A3-9BF2-60AC544713E9}">
      <dgm:prSet custT="1"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sz="1800" b="1" dirty="0"/>
            <a:t>Test and treat</a:t>
          </a:r>
        </a:p>
      </dgm:t>
    </dgm:pt>
    <dgm:pt modelId="{3E657700-1D7D-4863-AEEC-16F65DA5C075}" type="parTrans" cxnId="{3AF5F79B-2DA7-4C30-A3DC-54CA2EC6CC50}">
      <dgm:prSet/>
      <dgm:spPr/>
      <dgm:t>
        <a:bodyPr/>
        <a:lstStyle/>
        <a:p>
          <a:endParaRPr lang="en-US" sz="2000"/>
        </a:p>
      </dgm:t>
    </dgm:pt>
    <dgm:pt modelId="{798718C3-8466-4DFD-995A-D9FF43DBE828}" type="sibTrans" cxnId="{3AF5F79B-2DA7-4C30-A3DC-54CA2EC6CC50}">
      <dgm:prSet/>
      <dgm:spPr/>
      <dgm:t>
        <a:bodyPr/>
        <a:lstStyle/>
        <a:p>
          <a:endParaRPr lang="en-US" sz="2000"/>
        </a:p>
      </dgm:t>
    </dgm:pt>
    <dgm:pt modelId="{A53E4C47-CAD7-455E-8384-340D5CF66625}">
      <dgm:prSet custT="1"/>
      <dgm:spPr/>
      <dgm:t>
        <a:bodyPr/>
        <a:lstStyle/>
        <a:p>
          <a:r>
            <a:rPr lang="en-US" sz="1200" dirty="0"/>
            <a:t>Treatment adherence support</a:t>
          </a:r>
        </a:p>
      </dgm:t>
    </dgm:pt>
    <dgm:pt modelId="{DEDB0C4E-D840-4062-89F5-F7CD1E9B1C10}" type="parTrans" cxnId="{FDF6BD1F-7254-4DB5-A8F5-F1FD2AB4C101}">
      <dgm:prSet/>
      <dgm:spPr/>
      <dgm:t>
        <a:bodyPr/>
        <a:lstStyle/>
        <a:p>
          <a:endParaRPr lang="en-US" sz="2000"/>
        </a:p>
      </dgm:t>
    </dgm:pt>
    <dgm:pt modelId="{45E2143E-EAEB-4AE2-8FF3-F6896D11C8E5}" type="sibTrans" cxnId="{FDF6BD1F-7254-4DB5-A8F5-F1FD2AB4C101}">
      <dgm:prSet/>
      <dgm:spPr/>
      <dgm:t>
        <a:bodyPr/>
        <a:lstStyle/>
        <a:p>
          <a:endParaRPr lang="en-US" sz="2000"/>
        </a:p>
      </dgm:t>
    </dgm:pt>
    <dgm:pt modelId="{C28F32F5-F941-4075-ACBE-5EB967819069}">
      <dgm:prSet custT="1"/>
      <dgm:spPr/>
      <dgm:t>
        <a:bodyPr/>
        <a:lstStyle/>
        <a:p>
          <a:r>
            <a:rPr lang="en-US" sz="1200" dirty="0"/>
            <a:t>Viral loads</a:t>
          </a:r>
        </a:p>
      </dgm:t>
    </dgm:pt>
    <dgm:pt modelId="{D0A0B3A0-9DFC-4056-80D9-14694500AC86}" type="parTrans" cxnId="{A078EACF-0315-40CB-83BA-412B1C253DA5}">
      <dgm:prSet/>
      <dgm:spPr/>
      <dgm:t>
        <a:bodyPr/>
        <a:lstStyle/>
        <a:p>
          <a:endParaRPr lang="en-US" sz="2000"/>
        </a:p>
      </dgm:t>
    </dgm:pt>
    <dgm:pt modelId="{E2BB423F-461B-41B2-BDC2-D1279AC0D37B}" type="sibTrans" cxnId="{A078EACF-0315-40CB-83BA-412B1C253DA5}">
      <dgm:prSet/>
      <dgm:spPr/>
      <dgm:t>
        <a:bodyPr/>
        <a:lstStyle/>
        <a:p>
          <a:endParaRPr lang="en-US" sz="2000"/>
        </a:p>
      </dgm:t>
    </dgm:pt>
    <dgm:pt modelId="{8C4D2C99-D312-4B5B-832A-541AFB7DD0C0}">
      <dgm:prSet custT="1"/>
      <dgm:spPr/>
      <dgm:t>
        <a:bodyPr/>
        <a:lstStyle/>
        <a:p>
          <a:r>
            <a:rPr lang="en-US" sz="1200" dirty="0"/>
            <a:t>Linkage to care</a:t>
          </a:r>
        </a:p>
      </dgm:t>
    </dgm:pt>
    <dgm:pt modelId="{950E432E-9590-4FAB-9D1A-9B281BFC8371}" type="parTrans" cxnId="{6360F829-AE79-46EB-BEDE-2BE847ECBB07}">
      <dgm:prSet/>
      <dgm:spPr/>
      <dgm:t>
        <a:bodyPr/>
        <a:lstStyle/>
        <a:p>
          <a:endParaRPr lang="en-US" sz="2000"/>
        </a:p>
      </dgm:t>
    </dgm:pt>
    <dgm:pt modelId="{64F1715F-DE8C-43DD-8E46-7CE7B7F3FCA8}" type="sibTrans" cxnId="{6360F829-AE79-46EB-BEDE-2BE847ECBB07}">
      <dgm:prSet/>
      <dgm:spPr/>
      <dgm:t>
        <a:bodyPr/>
        <a:lstStyle/>
        <a:p>
          <a:endParaRPr lang="en-US" sz="2000"/>
        </a:p>
      </dgm:t>
    </dgm:pt>
    <dgm:pt modelId="{59B3D873-CACF-463C-98AE-892E89BF5070}">
      <dgm:prSet custT="1"/>
      <dgm:spPr/>
      <dgm:t>
        <a:bodyPr/>
        <a:lstStyle/>
        <a:p>
          <a:r>
            <a:rPr lang="en-US" sz="1200" dirty="0"/>
            <a:t>Counselling</a:t>
          </a:r>
        </a:p>
      </dgm:t>
    </dgm:pt>
    <dgm:pt modelId="{FE41C311-F546-4631-9D03-A6B811AFDB0C}" type="parTrans" cxnId="{2F87F40D-51A0-4028-8E7D-6B72A0D408C1}">
      <dgm:prSet/>
      <dgm:spPr/>
      <dgm:t>
        <a:bodyPr/>
        <a:lstStyle/>
        <a:p>
          <a:endParaRPr lang="en-US" sz="2000"/>
        </a:p>
      </dgm:t>
    </dgm:pt>
    <dgm:pt modelId="{8020F072-686C-4122-A0D5-84D892574E24}" type="sibTrans" cxnId="{2F87F40D-51A0-4028-8E7D-6B72A0D408C1}">
      <dgm:prSet/>
      <dgm:spPr/>
      <dgm:t>
        <a:bodyPr/>
        <a:lstStyle/>
        <a:p>
          <a:endParaRPr lang="en-US" sz="2000"/>
        </a:p>
      </dgm:t>
    </dgm:pt>
    <dgm:pt modelId="{72FAB297-C3B7-4AB3-AAF5-029EC3BEFF87}">
      <dgm:prSet custT="1"/>
      <dgm:spPr/>
      <dgm:t>
        <a:bodyPr/>
        <a:lstStyle/>
        <a:p>
          <a:r>
            <a:rPr lang="en-US" sz="1200" dirty="0"/>
            <a:t>Post trauma care &amp; counselling</a:t>
          </a:r>
        </a:p>
      </dgm:t>
    </dgm:pt>
    <dgm:pt modelId="{368B68A6-97BE-4844-9A69-E684519B36E6}" type="parTrans" cxnId="{F7A6ECD7-C6EC-4FE2-93DD-CD377130A526}">
      <dgm:prSet/>
      <dgm:spPr/>
      <dgm:t>
        <a:bodyPr/>
        <a:lstStyle/>
        <a:p>
          <a:endParaRPr lang="en-US" sz="2000"/>
        </a:p>
      </dgm:t>
    </dgm:pt>
    <dgm:pt modelId="{74DDD457-9B4A-46DC-B2CE-0CEECFB29D7D}" type="sibTrans" cxnId="{F7A6ECD7-C6EC-4FE2-93DD-CD377130A526}">
      <dgm:prSet/>
      <dgm:spPr/>
      <dgm:t>
        <a:bodyPr/>
        <a:lstStyle/>
        <a:p>
          <a:endParaRPr lang="en-US" sz="2000"/>
        </a:p>
      </dgm:t>
    </dgm:pt>
    <dgm:pt modelId="{A4EF5B53-BBE5-429A-A10D-2FA367391B18}">
      <dgm:prSet custT="1"/>
      <dgm:spPr/>
      <dgm:t>
        <a:bodyPr/>
        <a:lstStyle/>
        <a:p>
          <a:r>
            <a:rPr lang="en-US" sz="1200" dirty="0"/>
            <a:t>Creative spaces</a:t>
          </a:r>
        </a:p>
      </dgm:t>
    </dgm:pt>
    <dgm:pt modelId="{A193A8BB-FBAD-4B26-A8C3-DA5DDC8D4106}" type="parTrans" cxnId="{F9CF390A-BFEE-4FA6-9633-2D22BE4F5FCD}">
      <dgm:prSet/>
      <dgm:spPr/>
      <dgm:t>
        <a:bodyPr/>
        <a:lstStyle/>
        <a:p>
          <a:endParaRPr lang="en-US" sz="2000"/>
        </a:p>
      </dgm:t>
    </dgm:pt>
    <dgm:pt modelId="{DD8FE329-D6A7-4CA3-AFF3-EB9DB32B2E44}" type="sibTrans" cxnId="{F9CF390A-BFEE-4FA6-9633-2D22BE4F5FCD}">
      <dgm:prSet/>
      <dgm:spPr/>
      <dgm:t>
        <a:bodyPr/>
        <a:lstStyle/>
        <a:p>
          <a:endParaRPr lang="en-US" sz="2000"/>
        </a:p>
      </dgm:t>
    </dgm:pt>
    <dgm:pt modelId="{F468F20E-4292-4197-A88F-088601092855}">
      <dgm:prSet custT="1"/>
      <dgm:spPr/>
      <dgm:t>
        <a:bodyPr/>
        <a:lstStyle/>
        <a:p>
          <a:r>
            <a:rPr lang="en-US" sz="1400" dirty="0"/>
            <a:t>HIV Testing</a:t>
          </a:r>
        </a:p>
        <a:p>
          <a:r>
            <a:rPr lang="en-US" sz="1400" u="sng" dirty="0"/>
            <a:t>3 monthly</a:t>
          </a:r>
        </a:p>
      </dgm:t>
    </dgm:pt>
    <dgm:pt modelId="{2B30DCFA-91C4-4BA3-B138-F748839E64EB}" type="parTrans" cxnId="{BFAF769A-FD57-4E30-BBAD-11AD641ED1A9}">
      <dgm:prSet/>
      <dgm:spPr/>
      <dgm:t>
        <a:bodyPr/>
        <a:lstStyle/>
        <a:p>
          <a:endParaRPr lang="en-US"/>
        </a:p>
      </dgm:t>
    </dgm:pt>
    <dgm:pt modelId="{01657BDF-6488-47F0-BD71-52E6CEF44802}" type="sibTrans" cxnId="{BFAF769A-FD57-4E30-BBAD-11AD641ED1A9}">
      <dgm:prSet/>
      <dgm:spPr/>
      <dgm:t>
        <a:bodyPr/>
        <a:lstStyle/>
        <a:p>
          <a:endParaRPr lang="en-US"/>
        </a:p>
      </dgm:t>
    </dgm:pt>
    <dgm:pt modelId="{BF4A89ED-60B5-473C-8D5F-83068BD31865}" type="pres">
      <dgm:prSet presAssocID="{CDD1A2CA-6C3B-4914-AE20-648CBB26DADF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6829BD89-6B31-4E64-B5D4-C31496149E55}" type="pres">
      <dgm:prSet presAssocID="{F5435FF6-E102-4EC1-B600-A6B1AA9A4DED}" presName="root" presStyleCnt="0"/>
      <dgm:spPr/>
    </dgm:pt>
    <dgm:pt modelId="{868D6942-F3E8-4B4F-9A2E-A95E3AA615AA}" type="pres">
      <dgm:prSet presAssocID="{F5435FF6-E102-4EC1-B600-A6B1AA9A4DED}" presName="rootComposite" presStyleCnt="0"/>
      <dgm:spPr/>
    </dgm:pt>
    <dgm:pt modelId="{099D7907-6B5A-48B8-B270-B5A9D55CA771}" type="pres">
      <dgm:prSet presAssocID="{F5435FF6-E102-4EC1-B600-A6B1AA9A4DED}" presName="rootText" presStyleLbl="node1" presStyleIdx="0" presStyleCnt="5" custScaleY="164340"/>
      <dgm:spPr/>
      <dgm:t>
        <a:bodyPr/>
        <a:lstStyle/>
        <a:p>
          <a:endParaRPr lang="en-US"/>
        </a:p>
      </dgm:t>
    </dgm:pt>
    <dgm:pt modelId="{2AB644B3-0252-4307-B9A5-92B983EE290D}" type="pres">
      <dgm:prSet presAssocID="{F5435FF6-E102-4EC1-B600-A6B1AA9A4DED}" presName="rootConnector" presStyleLbl="node1" presStyleIdx="0" presStyleCnt="5"/>
      <dgm:spPr/>
      <dgm:t>
        <a:bodyPr/>
        <a:lstStyle/>
        <a:p>
          <a:endParaRPr lang="en-US"/>
        </a:p>
      </dgm:t>
    </dgm:pt>
    <dgm:pt modelId="{4AAD6BD1-5C65-47E3-8459-5F8A8FDB6FAC}" type="pres">
      <dgm:prSet presAssocID="{F5435FF6-E102-4EC1-B600-A6B1AA9A4DED}" presName="childShape" presStyleCnt="0"/>
      <dgm:spPr/>
    </dgm:pt>
    <dgm:pt modelId="{72C812EC-9E65-4813-BE2C-80CBFE7693E3}" type="pres">
      <dgm:prSet presAssocID="{608C65F0-F38F-4097-A48C-F45858B3CEB2}" presName="Name13" presStyleLbl="parChTrans1D2" presStyleIdx="0" presStyleCnt="21"/>
      <dgm:spPr/>
      <dgm:t>
        <a:bodyPr/>
        <a:lstStyle/>
        <a:p>
          <a:endParaRPr lang="en-US"/>
        </a:p>
      </dgm:t>
    </dgm:pt>
    <dgm:pt modelId="{7BA5E44C-174D-48B8-A470-E69BD735F58D}" type="pres">
      <dgm:prSet presAssocID="{283BC570-C274-4FC8-94A4-B2B068A272B9}" presName="childText" presStyleLbl="bgAcc1" presStyleIdx="0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8120FE-137F-4523-BBE1-29D50FFF6CF5}" type="pres">
      <dgm:prSet presAssocID="{1B95FAD2-2425-4264-B1BC-7FDF6BC3FA27}" presName="Name13" presStyleLbl="parChTrans1D2" presStyleIdx="1" presStyleCnt="21"/>
      <dgm:spPr/>
      <dgm:t>
        <a:bodyPr/>
        <a:lstStyle/>
        <a:p>
          <a:endParaRPr lang="en-US"/>
        </a:p>
      </dgm:t>
    </dgm:pt>
    <dgm:pt modelId="{9FA0AE1B-BED9-40D2-980A-B6F676195283}" type="pres">
      <dgm:prSet presAssocID="{F1FF0787-5BCB-4E17-A694-FF1FD0BB9CED}" presName="childText" presStyleLbl="bgAcc1" presStyleIdx="1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DCCFC8-BC74-492B-B0FD-900A148484D2}" type="pres">
      <dgm:prSet presAssocID="{4199130D-4943-4943-AFE5-1902E034C0BD}" presName="Name13" presStyleLbl="parChTrans1D2" presStyleIdx="2" presStyleCnt="21"/>
      <dgm:spPr/>
      <dgm:t>
        <a:bodyPr/>
        <a:lstStyle/>
        <a:p>
          <a:endParaRPr lang="en-US"/>
        </a:p>
      </dgm:t>
    </dgm:pt>
    <dgm:pt modelId="{3764CD6C-89AB-4715-AACE-875A113F8EEF}" type="pres">
      <dgm:prSet presAssocID="{B88C5242-732C-4783-BD5E-61A8B692FC66}" presName="childText" presStyleLbl="bgAcc1" presStyleIdx="2" presStyleCnt="21" custLinFactY="100000" custLinFactNeighborX="3134" custLinFactNeighborY="14097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4DB343-63A1-47D2-AD8F-DF9440F73667}" type="pres">
      <dgm:prSet presAssocID="{FF226748-AF58-4CED-A3C1-9B381469CF6E}" presName="Name13" presStyleLbl="parChTrans1D2" presStyleIdx="3" presStyleCnt="21"/>
      <dgm:spPr/>
      <dgm:t>
        <a:bodyPr/>
        <a:lstStyle/>
        <a:p>
          <a:endParaRPr lang="en-US"/>
        </a:p>
      </dgm:t>
    </dgm:pt>
    <dgm:pt modelId="{9EC5069C-029B-4F45-898C-AB454D5D3CDC}" type="pres">
      <dgm:prSet presAssocID="{F864642C-6607-4F08-8BC6-68B5B58ACC50}" presName="childText" presStyleLbl="bgAcc1" presStyleIdx="3" presStyleCnt="21" custLinFactY="-26305" custLinFactNeighborX="3134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D3283E-AE0A-4BF7-B31F-82D03ED3885D}" type="pres">
      <dgm:prSet presAssocID="{2B30DCFA-91C4-4BA3-B138-F748839E64EB}" presName="Name13" presStyleLbl="parChTrans1D2" presStyleIdx="4" presStyleCnt="21"/>
      <dgm:spPr/>
      <dgm:t>
        <a:bodyPr/>
        <a:lstStyle/>
        <a:p>
          <a:endParaRPr lang="en-US"/>
        </a:p>
      </dgm:t>
    </dgm:pt>
    <dgm:pt modelId="{6EF5706C-653F-4530-BA9F-4E926AB4E71C}" type="pres">
      <dgm:prSet presAssocID="{F468F20E-4292-4197-A88F-088601092855}" presName="childText" presStyleLbl="bgAcc1" presStyleIdx="4" presStyleCnt="21" custLinFactY="-24395" custLinFactNeighborX="3134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2005D0-9222-4E44-9236-B7A339FBABBB}" type="pres">
      <dgm:prSet presAssocID="{11F49177-3995-4BCD-A564-5EE341E9C66B}" presName="root" presStyleCnt="0"/>
      <dgm:spPr/>
    </dgm:pt>
    <dgm:pt modelId="{1F3E992F-4119-48F9-89D6-0BA01247FC7C}" type="pres">
      <dgm:prSet presAssocID="{11F49177-3995-4BCD-A564-5EE341E9C66B}" presName="rootComposite" presStyleCnt="0"/>
      <dgm:spPr/>
    </dgm:pt>
    <dgm:pt modelId="{70F08F49-0972-47C1-8C97-D0E51488DF7E}" type="pres">
      <dgm:prSet presAssocID="{11F49177-3995-4BCD-A564-5EE341E9C66B}" presName="rootText" presStyleLbl="node1" presStyleIdx="1" presStyleCnt="5"/>
      <dgm:spPr/>
      <dgm:t>
        <a:bodyPr/>
        <a:lstStyle/>
        <a:p>
          <a:endParaRPr lang="en-US"/>
        </a:p>
      </dgm:t>
    </dgm:pt>
    <dgm:pt modelId="{90EDBBC7-8E0A-4C7F-8B27-519499A438B8}" type="pres">
      <dgm:prSet presAssocID="{11F49177-3995-4BCD-A564-5EE341E9C66B}" presName="rootConnector" presStyleLbl="node1" presStyleIdx="1" presStyleCnt="5"/>
      <dgm:spPr/>
      <dgm:t>
        <a:bodyPr/>
        <a:lstStyle/>
        <a:p>
          <a:endParaRPr lang="en-US"/>
        </a:p>
      </dgm:t>
    </dgm:pt>
    <dgm:pt modelId="{5AF5D3F6-3A9F-4D91-81C8-4C75FBFA28B9}" type="pres">
      <dgm:prSet presAssocID="{11F49177-3995-4BCD-A564-5EE341E9C66B}" presName="childShape" presStyleCnt="0"/>
      <dgm:spPr/>
    </dgm:pt>
    <dgm:pt modelId="{787E3E57-563F-407B-A0B3-5AEBFEF7A5FB}" type="pres">
      <dgm:prSet presAssocID="{8F471ED4-EBCE-4CBE-9E48-E2AC47EE0F0A}" presName="Name13" presStyleLbl="parChTrans1D2" presStyleIdx="5" presStyleCnt="21"/>
      <dgm:spPr/>
      <dgm:t>
        <a:bodyPr/>
        <a:lstStyle/>
        <a:p>
          <a:endParaRPr lang="en-US"/>
        </a:p>
      </dgm:t>
    </dgm:pt>
    <dgm:pt modelId="{0B3D6865-C630-4860-BD26-16F78FDA400C}" type="pres">
      <dgm:prSet presAssocID="{C9594DF4-2AB0-46F3-9177-05970F554090}" presName="childText" presStyleLbl="bgAcc1" presStyleIdx="5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01FA34-0CA9-40A3-B36A-EB2056987679}" type="pres">
      <dgm:prSet presAssocID="{22AE29A9-5888-41C1-BBDF-9F06E04DBA43}" presName="Name13" presStyleLbl="parChTrans1D2" presStyleIdx="6" presStyleCnt="21"/>
      <dgm:spPr/>
      <dgm:t>
        <a:bodyPr/>
        <a:lstStyle/>
        <a:p>
          <a:endParaRPr lang="en-US"/>
        </a:p>
      </dgm:t>
    </dgm:pt>
    <dgm:pt modelId="{089C3BFC-AF96-4881-9F02-D44406E48DC6}" type="pres">
      <dgm:prSet presAssocID="{06DD7B3E-4102-457F-B93D-CC4FF6A41B68}" presName="childText" presStyleLbl="bgAcc1" presStyleIdx="6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861E29-E91C-4864-B411-1E2AD73A1D78}" type="pres">
      <dgm:prSet presAssocID="{E7E6CD91-02A8-48AF-9571-FA5F3CE167F7}" presName="Name13" presStyleLbl="parChTrans1D2" presStyleIdx="7" presStyleCnt="21"/>
      <dgm:spPr/>
      <dgm:t>
        <a:bodyPr/>
        <a:lstStyle/>
        <a:p>
          <a:endParaRPr lang="en-US"/>
        </a:p>
      </dgm:t>
    </dgm:pt>
    <dgm:pt modelId="{0D89EC49-89D4-4B03-98D3-7555E68717AC}" type="pres">
      <dgm:prSet presAssocID="{3CE97BDB-A12F-4134-9D35-8E233CC0D9CE}" presName="childText" presStyleLbl="bgAcc1" presStyleIdx="7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64F36E-2D1A-426E-A67D-11C63EF73A58}" type="pres">
      <dgm:prSet presAssocID="{C2700C15-A995-407E-9FDF-6D5EBA894027}" presName="Name13" presStyleLbl="parChTrans1D2" presStyleIdx="8" presStyleCnt="21"/>
      <dgm:spPr/>
      <dgm:t>
        <a:bodyPr/>
        <a:lstStyle/>
        <a:p>
          <a:endParaRPr lang="en-US"/>
        </a:p>
      </dgm:t>
    </dgm:pt>
    <dgm:pt modelId="{6C36E34D-8B0A-497C-BB29-F284E5F31412}" type="pres">
      <dgm:prSet presAssocID="{E1365CBB-820C-4D7B-A326-2F063FAD7445}" presName="childText" presStyleLbl="bgAcc1" presStyleIdx="8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69A573-D679-41CB-B214-7C2CF9DDCE0A}" type="pres">
      <dgm:prSet presAssocID="{9D0BE036-F237-480A-8501-F4A88A017B99}" presName="Name13" presStyleLbl="parChTrans1D2" presStyleIdx="9" presStyleCnt="21"/>
      <dgm:spPr/>
      <dgm:t>
        <a:bodyPr/>
        <a:lstStyle/>
        <a:p>
          <a:endParaRPr lang="en-US"/>
        </a:p>
      </dgm:t>
    </dgm:pt>
    <dgm:pt modelId="{F0606E1E-D41C-4C5D-9D20-EA675533C0EE}" type="pres">
      <dgm:prSet presAssocID="{8E636ADB-D24A-4DEC-B5DD-0507212F5A70}" presName="childText" presStyleLbl="bgAcc1" presStyleIdx="9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A1C957-E38B-47A9-8E4B-F6EEF4937AA9}" type="pres">
      <dgm:prSet presAssocID="{E79A5279-FCB8-487B-8C48-D407CE6D8430}" presName="root" presStyleCnt="0"/>
      <dgm:spPr/>
    </dgm:pt>
    <dgm:pt modelId="{FDE5878C-0103-4DBC-85A9-74EC8EEA4F2E}" type="pres">
      <dgm:prSet presAssocID="{E79A5279-FCB8-487B-8C48-D407CE6D8430}" presName="rootComposite" presStyleCnt="0"/>
      <dgm:spPr/>
    </dgm:pt>
    <dgm:pt modelId="{75F2F5B4-7DC8-4760-9E8F-E5CA8BD37F8F}" type="pres">
      <dgm:prSet presAssocID="{E79A5279-FCB8-487B-8C48-D407CE6D8430}" presName="rootText" presStyleLbl="node1" presStyleIdx="2" presStyleCnt="5" custScaleX="123543" custScaleY="129610"/>
      <dgm:spPr/>
      <dgm:t>
        <a:bodyPr/>
        <a:lstStyle/>
        <a:p>
          <a:endParaRPr lang="en-US"/>
        </a:p>
      </dgm:t>
    </dgm:pt>
    <dgm:pt modelId="{F18A9BCC-99A6-4424-A053-86A91686587F}" type="pres">
      <dgm:prSet presAssocID="{E79A5279-FCB8-487B-8C48-D407CE6D8430}" presName="rootConnector" presStyleLbl="node1" presStyleIdx="2" presStyleCnt="5"/>
      <dgm:spPr/>
      <dgm:t>
        <a:bodyPr/>
        <a:lstStyle/>
        <a:p>
          <a:endParaRPr lang="en-US"/>
        </a:p>
      </dgm:t>
    </dgm:pt>
    <dgm:pt modelId="{278FE181-902E-4344-BEF5-5B02A06C3AFC}" type="pres">
      <dgm:prSet presAssocID="{E79A5279-FCB8-487B-8C48-D407CE6D8430}" presName="childShape" presStyleCnt="0"/>
      <dgm:spPr/>
    </dgm:pt>
    <dgm:pt modelId="{F4911F76-9A9C-4B22-B26E-F53D42D83195}" type="pres">
      <dgm:prSet presAssocID="{CF8E5254-4625-41CE-B927-A311E77A47F1}" presName="Name13" presStyleLbl="parChTrans1D2" presStyleIdx="10" presStyleCnt="21"/>
      <dgm:spPr/>
      <dgm:t>
        <a:bodyPr/>
        <a:lstStyle/>
        <a:p>
          <a:endParaRPr lang="en-US"/>
        </a:p>
      </dgm:t>
    </dgm:pt>
    <dgm:pt modelId="{33A99CA9-7BF6-4742-A201-E19F92FC10B2}" type="pres">
      <dgm:prSet presAssocID="{3FA21111-6681-49E5-BC7C-86313B54A861}" presName="childText" presStyleLbl="bgAcc1" presStyleIdx="10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CE797B-C5CA-4642-A00D-DFE40D798A30}" type="pres">
      <dgm:prSet presAssocID="{42EABA6A-814F-4CBE-9D22-75991D639F55}" presName="Name13" presStyleLbl="parChTrans1D2" presStyleIdx="11" presStyleCnt="21"/>
      <dgm:spPr/>
      <dgm:t>
        <a:bodyPr/>
        <a:lstStyle/>
        <a:p>
          <a:endParaRPr lang="en-US"/>
        </a:p>
      </dgm:t>
    </dgm:pt>
    <dgm:pt modelId="{231CC70D-1AE3-49B7-B555-27E1A0D388B5}" type="pres">
      <dgm:prSet presAssocID="{C917278E-C1BF-41B3-AFFE-D4753C963A18}" presName="childText" presStyleLbl="bgAcc1" presStyleIdx="11" presStyleCnt="21" custScaleX="1228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8F4BED-1D84-4956-90FD-48553030F1C9}" type="pres">
      <dgm:prSet presAssocID="{8DDF91CC-6433-4DE5-89AB-F16EC4FAB4DF}" presName="Name13" presStyleLbl="parChTrans1D2" presStyleIdx="12" presStyleCnt="21"/>
      <dgm:spPr/>
      <dgm:t>
        <a:bodyPr/>
        <a:lstStyle/>
        <a:p>
          <a:endParaRPr lang="en-US"/>
        </a:p>
      </dgm:t>
    </dgm:pt>
    <dgm:pt modelId="{9D9EA28A-B669-4167-B3C5-4C7BD8FAB29A}" type="pres">
      <dgm:prSet presAssocID="{F5F2B386-981B-4EFA-9D74-7102D518B3FF}" presName="childText" presStyleLbl="bgAcc1" presStyleIdx="12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6253F9-B5B0-4047-BDB9-90EF6C1B6851}" type="pres">
      <dgm:prSet presAssocID="{F4886406-1AB9-4445-B266-6B4FEAAE36A2}" presName="Name13" presStyleLbl="parChTrans1D2" presStyleIdx="13" presStyleCnt="21"/>
      <dgm:spPr/>
      <dgm:t>
        <a:bodyPr/>
        <a:lstStyle/>
        <a:p>
          <a:endParaRPr lang="en-US"/>
        </a:p>
      </dgm:t>
    </dgm:pt>
    <dgm:pt modelId="{C454C692-3100-4566-B059-DF0DD4DA153D}" type="pres">
      <dgm:prSet presAssocID="{04FCE50A-35CA-4590-BBAC-78EF163BA66E}" presName="childText" presStyleLbl="bgAcc1" presStyleIdx="13" presStyleCnt="21" custScaleX="95933" custScaleY="10852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65D664-1D49-48C4-97C0-C8A4CABFAB3B}" type="pres">
      <dgm:prSet presAssocID="{3A463C24-063D-45AA-B8D4-428F39A070EC}" presName="root" presStyleCnt="0"/>
      <dgm:spPr/>
    </dgm:pt>
    <dgm:pt modelId="{6910BB31-1E1C-4C1A-91BC-FC118C31EEC1}" type="pres">
      <dgm:prSet presAssocID="{3A463C24-063D-45AA-B8D4-428F39A070EC}" presName="rootComposite" presStyleCnt="0"/>
      <dgm:spPr/>
    </dgm:pt>
    <dgm:pt modelId="{37D78093-A4FD-4127-B6A6-29E09A44A172}" type="pres">
      <dgm:prSet presAssocID="{3A463C24-063D-45AA-B8D4-428F39A070EC}" presName="rootText" presStyleLbl="node1" presStyleIdx="3" presStyleCnt="5"/>
      <dgm:spPr/>
      <dgm:t>
        <a:bodyPr/>
        <a:lstStyle/>
        <a:p>
          <a:endParaRPr lang="en-US"/>
        </a:p>
      </dgm:t>
    </dgm:pt>
    <dgm:pt modelId="{977ED55F-5A5D-4A39-8E32-562EDE6C549A}" type="pres">
      <dgm:prSet presAssocID="{3A463C24-063D-45AA-B8D4-428F39A070EC}" presName="rootConnector" presStyleLbl="node1" presStyleIdx="3" presStyleCnt="5"/>
      <dgm:spPr/>
      <dgm:t>
        <a:bodyPr/>
        <a:lstStyle/>
        <a:p>
          <a:endParaRPr lang="en-US"/>
        </a:p>
      </dgm:t>
    </dgm:pt>
    <dgm:pt modelId="{7520227C-45F0-4BCD-B5C8-55A31936BBDC}" type="pres">
      <dgm:prSet presAssocID="{3A463C24-063D-45AA-B8D4-428F39A070EC}" presName="childShape" presStyleCnt="0"/>
      <dgm:spPr/>
    </dgm:pt>
    <dgm:pt modelId="{DE590260-9BB6-4FA3-B4C0-73B084E44376}" type="pres">
      <dgm:prSet presAssocID="{3E657700-1D7D-4863-AEEC-16F65DA5C075}" presName="Name13" presStyleLbl="parChTrans1D2" presStyleIdx="14" presStyleCnt="21"/>
      <dgm:spPr/>
      <dgm:t>
        <a:bodyPr/>
        <a:lstStyle/>
        <a:p>
          <a:endParaRPr lang="en-US"/>
        </a:p>
      </dgm:t>
    </dgm:pt>
    <dgm:pt modelId="{19F7F2CE-A4BB-4B5B-B2AA-277A887B78B2}" type="pres">
      <dgm:prSet presAssocID="{B93D1667-EFAC-44A3-9BF2-60AC544713E9}" presName="childText" presStyleLbl="bgAcc1" presStyleIdx="14" presStyleCnt="21" custScaleY="1007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2CC742-B5EF-4C52-9DD2-4E27B64FA404}" type="pres">
      <dgm:prSet presAssocID="{DEDB0C4E-D840-4062-89F5-F7CD1E9B1C10}" presName="Name13" presStyleLbl="parChTrans1D2" presStyleIdx="15" presStyleCnt="21"/>
      <dgm:spPr/>
      <dgm:t>
        <a:bodyPr/>
        <a:lstStyle/>
        <a:p>
          <a:endParaRPr lang="en-US"/>
        </a:p>
      </dgm:t>
    </dgm:pt>
    <dgm:pt modelId="{102038F0-C636-4200-A4F7-7E5BC99D3227}" type="pres">
      <dgm:prSet presAssocID="{A53E4C47-CAD7-455E-8384-340D5CF66625}" presName="childText" presStyleLbl="bgAcc1" presStyleIdx="15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D4D5D7-0F11-4C80-A380-C0FE6878095B}" type="pres">
      <dgm:prSet presAssocID="{D0A0B3A0-9DFC-4056-80D9-14694500AC86}" presName="Name13" presStyleLbl="parChTrans1D2" presStyleIdx="16" presStyleCnt="21"/>
      <dgm:spPr/>
      <dgm:t>
        <a:bodyPr/>
        <a:lstStyle/>
        <a:p>
          <a:endParaRPr lang="en-US"/>
        </a:p>
      </dgm:t>
    </dgm:pt>
    <dgm:pt modelId="{A119F32E-E951-4031-9342-C1DBB391D7D7}" type="pres">
      <dgm:prSet presAssocID="{C28F32F5-F941-4075-ACBE-5EB967819069}" presName="childText" presStyleLbl="bgAcc1" presStyleIdx="16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579FCA0-EB77-4AD6-A3C9-4D81E6319383}" type="pres">
      <dgm:prSet presAssocID="{950E432E-9590-4FAB-9D1A-9B281BFC8371}" presName="Name13" presStyleLbl="parChTrans1D2" presStyleIdx="17" presStyleCnt="21"/>
      <dgm:spPr/>
      <dgm:t>
        <a:bodyPr/>
        <a:lstStyle/>
        <a:p>
          <a:endParaRPr lang="en-US"/>
        </a:p>
      </dgm:t>
    </dgm:pt>
    <dgm:pt modelId="{9F9C1E21-BEBA-458A-9617-9D8A5C7827E0}" type="pres">
      <dgm:prSet presAssocID="{8C4D2C99-D312-4B5B-832A-541AFB7DD0C0}" presName="childText" presStyleLbl="bgAcc1" presStyleIdx="17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9D817A-09D1-4A02-A7CD-CC184F989959}" type="pres">
      <dgm:prSet presAssocID="{B319BAD1-AF3E-47CE-9B0E-C4206BD9D8D0}" presName="root" presStyleCnt="0"/>
      <dgm:spPr/>
    </dgm:pt>
    <dgm:pt modelId="{1AAB17CD-098A-4DE2-94D8-0CCC7771FEB9}" type="pres">
      <dgm:prSet presAssocID="{B319BAD1-AF3E-47CE-9B0E-C4206BD9D8D0}" presName="rootComposite" presStyleCnt="0"/>
      <dgm:spPr/>
    </dgm:pt>
    <dgm:pt modelId="{45B90801-11B2-41DD-B907-1A80172D9A21}" type="pres">
      <dgm:prSet presAssocID="{B319BAD1-AF3E-47CE-9B0E-C4206BD9D8D0}" presName="rootText" presStyleLbl="node1" presStyleIdx="4" presStyleCnt="5" custScaleX="125497" custScaleY="183089"/>
      <dgm:spPr/>
      <dgm:t>
        <a:bodyPr/>
        <a:lstStyle/>
        <a:p>
          <a:endParaRPr lang="en-US"/>
        </a:p>
      </dgm:t>
    </dgm:pt>
    <dgm:pt modelId="{8F768FA3-4FD6-4383-A155-1E44E0CD178D}" type="pres">
      <dgm:prSet presAssocID="{B319BAD1-AF3E-47CE-9B0E-C4206BD9D8D0}" presName="rootConnector" presStyleLbl="node1" presStyleIdx="4" presStyleCnt="5"/>
      <dgm:spPr/>
      <dgm:t>
        <a:bodyPr/>
        <a:lstStyle/>
        <a:p>
          <a:endParaRPr lang="en-US"/>
        </a:p>
      </dgm:t>
    </dgm:pt>
    <dgm:pt modelId="{7EA014CF-5896-4524-AEAF-FB53D0913F57}" type="pres">
      <dgm:prSet presAssocID="{B319BAD1-AF3E-47CE-9B0E-C4206BD9D8D0}" presName="childShape" presStyleCnt="0"/>
      <dgm:spPr/>
    </dgm:pt>
    <dgm:pt modelId="{82006022-B4BE-4F74-9B08-F189B3EE36BA}" type="pres">
      <dgm:prSet presAssocID="{FE41C311-F546-4631-9D03-A6B811AFDB0C}" presName="Name13" presStyleLbl="parChTrans1D2" presStyleIdx="18" presStyleCnt="21"/>
      <dgm:spPr/>
      <dgm:t>
        <a:bodyPr/>
        <a:lstStyle/>
        <a:p>
          <a:endParaRPr lang="en-US"/>
        </a:p>
      </dgm:t>
    </dgm:pt>
    <dgm:pt modelId="{A9816D2E-DA70-4E00-878E-DC11CA2EF98E}" type="pres">
      <dgm:prSet presAssocID="{59B3D873-CACF-463C-98AE-892E89BF5070}" presName="childText" presStyleLbl="bgAcc1" presStyleIdx="18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2F2104-2B98-4993-B60C-C4BEB6C3F9A4}" type="pres">
      <dgm:prSet presAssocID="{368B68A6-97BE-4844-9A69-E684519B36E6}" presName="Name13" presStyleLbl="parChTrans1D2" presStyleIdx="19" presStyleCnt="21"/>
      <dgm:spPr/>
      <dgm:t>
        <a:bodyPr/>
        <a:lstStyle/>
        <a:p>
          <a:endParaRPr lang="en-US"/>
        </a:p>
      </dgm:t>
    </dgm:pt>
    <dgm:pt modelId="{F63EE71F-0796-4F9E-BA47-2F2E561A6BB2}" type="pres">
      <dgm:prSet presAssocID="{72FAB297-C3B7-4AB3-AAF5-029EC3BEFF87}" presName="childText" presStyleLbl="bgAcc1" presStyleIdx="19" presStyleCnt="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B32B0E-C8B7-47AD-B1EE-5C546744699B}" type="pres">
      <dgm:prSet presAssocID="{A193A8BB-FBAD-4B26-A8C3-DA5DDC8D4106}" presName="Name13" presStyleLbl="parChTrans1D2" presStyleIdx="20" presStyleCnt="21"/>
      <dgm:spPr/>
      <dgm:t>
        <a:bodyPr/>
        <a:lstStyle/>
        <a:p>
          <a:endParaRPr lang="en-US"/>
        </a:p>
      </dgm:t>
    </dgm:pt>
    <dgm:pt modelId="{9E30D907-DE71-4F8F-A754-AD7B1CAA9355}" type="pres">
      <dgm:prSet presAssocID="{A4EF5B53-BBE5-429A-A10D-2FA367391B18}" presName="childText" presStyleLbl="bgAcc1" presStyleIdx="20" presStyleCnt="21" custLinFactNeighborX="2218" custLinFactNeighborY="-110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FAF769A-FD57-4E30-BBAD-11AD641ED1A9}" srcId="{F5435FF6-E102-4EC1-B600-A6B1AA9A4DED}" destId="{F468F20E-4292-4197-A88F-088601092855}" srcOrd="4" destOrd="0" parTransId="{2B30DCFA-91C4-4BA3-B138-F748839E64EB}" sibTransId="{01657BDF-6488-47F0-BD71-52E6CEF44802}"/>
    <dgm:cxn modelId="{5BA0ED53-6687-4BF1-9D55-9D0284B51724}" type="presOf" srcId="{8DDF91CC-6433-4DE5-89AB-F16EC4FAB4DF}" destId="{A18F4BED-1D84-4956-90FD-48553030F1C9}" srcOrd="0" destOrd="0" presId="urn:microsoft.com/office/officeart/2005/8/layout/hierarchy3"/>
    <dgm:cxn modelId="{C76E2D50-8DEF-4697-891D-C7C7A8654C0D}" type="presOf" srcId="{F468F20E-4292-4197-A88F-088601092855}" destId="{6EF5706C-653F-4530-BA9F-4E926AB4E71C}" srcOrd="0" destOrd="0" presId="urn:microsoft.com/office/officeart/2005/8/layout/hierarchy3"/>
    <dgm:cxn modelId="{F6CCEB7D-B69F-4D1B-8C72-DD901AB67A65}" type="presOf" srcId="{E7E6CD91-02A8-48AF-9571-FA5F3CE167F7}" destId="{77861E29-E91C-4864-B411-1E2AD73A1D78}" srcOrd="0" destOrd="0" presId="urn:microsoft.com/office/officeart/2005/8/layout/hierarchy3"/>
    <dgm:cxn modelId="{33A236DA-F7FC-4E70-91BA-389598A1302D}" type="presOf" srcId="{F5435FF6-E102-4EC1-B600-A6B1AA9A4DED}" destId="{099D7907-6B5A-48B8-B270-B5A9D55CA771}" srcOrd="0" destOrd="0" presId="urn:microsoft.com/office/officeart/2005/8/layout/hierarchy3"/>
    <dgm:cxn modelId="{4E5852D5-FE11-4FB6-A61F-F459946E089A}" type="presOf" srcId="{C9594DF4-2AB0-46F3-9177-05970F554090}" destId="{0B3D6865-C630-4860-BD26-16F78FDA400C}" srcOrd="0" destOrd="0" presId="urn:microsoft.com/office/officeart/2005/8/layout/hierarchy3"/>
    <dgm:cxn modelId="{6D09AB47-B403-41CE-B3E1-67777684F87F}" type="presOf" srcId="{A53E4C47-CAD7-455E-8384-340D5CF66625}" destId="{102038F0-C636-4200-A4F7-7E5BC99D3227}" srcOrd="0" destOrd="0" presId="urn:microsoft.com/office/officeart/2005/8/layout/hierarchy3"/>
    <dgm:cxn modelId="{54BD62F8-1E34-4587-96A9-44462E6EAD89}" type="presOf" srcId="{FE41C311-F546-4631-9D03-A6B811AFDB0C}" destId="{82006022-B4BE-4F74-9B08-F189B3EE36BA}" srcOrd="0" destOrd="0" presId="urn:microsoft.com/office/officeart/2005/8/layout/hierarchy3"/>
    <dgm:cxn modelId="{B31E180F-0F6C-497E-9A23-58EED755B30F}" srcId="{CDD1A2CA-6C3B-4914-AE20-648CBB26DADF}" destId="{E79A5279-FCB8-487B-8C48-D407CE6D8430}" srcOrd="2" destOrd="0" parTransId="{DF1FC51D-50E9-41FD-A779-7C6DB03D1294}" sibTransId="{B9F0F971-8546-48D8-AD9D-997101D98F32}"/>
    <dgm:cxn modelId="{F17CF29E-9295-4AE5-8D05-84B2B2C86788}" type="presOf" srcId="{A193A8BB-FBAD-4B26-A8C3-DA5DDC8D4106}" destId="{0CB32B0E-C8B7-47AD-B1EE-5C546744699B}" srcOrd="0" destOrd="0" presId="urn:microsoft.com/office/officeart/2005/8/layout/hierarchy3"/>
    <dgm:cxn modelId="{DFFD893C-A01D-436E-8D7B-EE8D52BB730D}" srcId="{11F49177-3995-4BCD-A564-5EE341E9C66B}" destId="{8E636ADB-D24A-4DEC-B5DD-0507212F5A70}" srcOrd="4" destOrd="0" parTransId="{9D0BE036-F237-480A-8501-F4A88A017B99}" sibTransId="{F7861A2A-A6A4-484A-9492-DA6E8172C002}"/>
    <dgm:cxn modelId="{45B44C93-5FC0-448C-8957-6E3C588E15AA}" type="presOf" srcId="{CDD1A2CA-6C3B-4914-AE20-648CBB26DADF}" destId="{BF4A89ED-60B5-473C-8D5F-83068BD31865}" srcOrd="0" destOrd="0" presId="urn:microsoft.com/office/officeart/2005/8/layout/hierarchy3"/>
    <dgm:cxn modelId="{A078EACF-0315-40CB-83BA-412B1C253DA5}" srcId="{3A463C24-063D-45AA-B8D4-428F39A070EC}" destId="{C28F32F5-F941-4075-ACBE-5EB967819069}" srcOrd="2" destOrd="0" parTransId="{D0A0B3A0-9DFC-4056-80D9-14694500AC86}" sibTransId="{E2BB423F-461B-41B2-BDC2-D1279AC0D37B}"/>
    <dgm:cxn modelId="{31A82898-DB66-471C-A7EE-6ECDBF0F9435}" srcId="{E79A5279-FCB8-487B-8C48-D407CE6D8430}" destId="{3FA21111-6681-49E5-BC7C-86313B54A861}" srcOrd="0" destOrd="0" parTransId="{CF8E5254-4625-41CE-B927-A311E77A47F1}" sibTransId="{FAC3F1DD-4875-4229-B6FB-4C80F5944D81}"/>
    <dgm:cxn modelId="{975A5A40-87BE-43AC-B02C-C6433983F6F4}" type="presOf" srcId="{B93D1667-EFAC-44A3-9BF2-60AC544713E9}" destId="{19F7F2CE-A4BB-4B5B-B2AA-277A887B78B2}" srcOrd="0" destOrd="0" presId="urn:microsoft.com/office/officeart/2005/8/layout/hierarchy3"/>
    <dgm:cxn modelId="{55BA0050-9A71-43BE-97B2-3712A96BA58C}" type="presOf" srcId="{06DD7B3E-4102-457F-B93D-CC4FF6A41B68}" destId="{089C3BFC-AF96-4881-9F02-D44406E48DC6}" srcOrd="0" destOrd="0" presId="urn:microsoft.com/office/officeart/2005/8/layout/hierarchy3"/>
    <dgm:cxn modelId="{52016298-07B5-439C-8A41-FF76F595AD6D}" srcId="{CDD1A2CA-6C3B-4914-AE20-648CBB26DADF}" destId="{3A463C24-063D-45AA-B8D4-428F39A070EC}" srcOrd="3" destOrd="0" parTransId="{3A2AF969-3A4D-417D-AB86-A5D4578638A5}" sibTransId="{0F673F30-E91F-415B-89AE-27A393C0B0D5}"/>
    <dgm:cxn modelId="{544F396C-C6DF-4B3A-966A-CBD0F15333CE}" type="presOf" srcId="{DEDB0C4E-D840-4062-89F5-F7CD1E9B1C10}" destId="{492CC742-B5EF-4C52-9DD2-4E27B64FA404}" srcOrd="0" destOrd="0" presId="urn:microsoft.com/office/officeart/2005/8/layout/hierarchy3"/>
    <dgm:cxn modelId="{EBD80D4C-A377-471D-B92B-26A5013104D8}" srcId="{11F49177-3995-4BCD-A564-5EE341E9C66B}" destId="{06DD7B3E-4102-457F-B93D-CC4FF6A41B68}" srcOrd="1" destOrd="0" parTransId="{22AE29A9-5888-41C1-BBDF-9F06E04DBA43}" sibTransId="{F8C8A30D-F9BF-4A54-A08E-ED04EAAE8418}"/>
    <dgm:cxn modelId="{F7A6ECD7-C6EC-4FE2-93DD-CD377130A526}" srcId="{B319BAD1-AF3E-47CE-9B0E-C4206BD9D8D0}" destId="{72FAB297-C3B7-4AB3-AAF5-029EC3BEFF87}" srcOrd="1" destOrd="0" parTransId="{368B68A6-97BE-4844-9A69-E684519B36E6}" sibTransId="{74DDD457-9B4A-46DC-B2CE-0CEECFB29D7D}"/>
    <dgm:cxn modelId="{42686C94-0E02-4E80-9777-E83E4A82789A}" type="presOf" srcId="{B319BAD1-AF3E-47CE-9B0E-C4206BD9D8D0}" destId="{8F768FA3-4FD6-4383-A155-1E44E0CD178D}" srcOrd="1" destOrd="0" presId="urn:microsoft.com/office/officeart/2005/8/layout/hierarchy3"/>
    <dgm:cxn modelId="{274A6C8C-A5F9-4665-9E2E-0AE46C88B314}" srcId="{F5435FF6-E102-4EC1-B600-A6B1AA9A4DED}" destId="{B88C5242-732C-4783-BD5E-61A8B692FC66}" srcOrd="2" destOrd="0" parTransId="{4199130D-4943-4943-AFE5-1902E034C0BD}" sibTransId="{49ADDCC0-89D0-4074-987E-D1D827DFA29D}"/>
    <dgm:cxn modelId="{8CF7E890-9B64-4867-91A3-718F0C945DE3}" srcId="{CDD1A2CA-6C3B-4914-AE20-648CBB26DADF}" destId="{11F49177-3995-4BCD-A564-5EE341E9C66B}" srcOrd="1" destOrd="0" parTransId="{B4505D65-5293-4FF9-BB04-37D7BFAAD0F0}" sibTransId="{2DD39ADB-8B6B-4EF4-89E3-9191429A6B0F}"/>
    <dgm:cxn modelId="{17EC12F7-6EFF-4ED6-9AA1-4557152E5D83}" srcId="{F5435FF6-E102-4EC1-B600-A6B1AA9A4DED}" destId="{F864642C-6607-4F08-8BC6-68B5B58ACC50}" srcOrd="3" destOrd="0" parTransId="{FF226748-AF58-4CED-A3C1-9B381469CF6E}" sibTransId="{0E7EFE79-C6DA-498A-BA5F-1DA5A0F14B93}"/>
    <dgm:cxn modelId="{A418D73D-9112-4E85-9EB2-8286CD0F54FE}" type="presOf" srcId="{11F49177-3995-4BCD-A564-5EE341E9C66B}" destId="{70F08F49-0972-47C1-8C97-D0E51488DF7E}" srcOrd="0" destOrd="0" presId="urn:microsoft.com/office/officeart/2005/8/layout/hierarchy3"/>
    <dgm:cxn modelId="{8A257846-BA62-4091-8C97-E93CE172869D}" type="presOf" srcId="{B319BAD1-AF3E-47CE-9B0E-C4206BD9D8D0}" destId="{45B90801-11B2-41DD-B907-1A80172D9A21}" srcOrd="0" destOrd="0" presId="urn:microsoft.com/office/officeart/2005/8/layout/hierarchy3"/>
    <dgm:cxn modelId="{FA6511DF-2C30-4D58-9ACD-2572600FC518}" type="presOf" srcId="{F4886406-1AB9-4445-B266-6B4FEAAE36A2}" destId="{546253F9-B5B0-4047-BDB9-90EF6C1B6851}" srcOrd="0" destOrd="0" presId="urn:microsoft.com/office/officeart/2005/8/layout/hierarchy3"/>
    <dgm:cxn modelId="{CE77F6BA-400C-4493-B3F5-76DBBF80C21C}" type="presOf" srcId="{3A463C24-063D-45AA-B8D4-428F39A070EC}" destId="{37D78093-A4FD-4127-B6A6-29E09A44A172}" srcOrd="0" destOrd="0" presId="urn:microsoft.com/office/officeart/2005/8/layout/hierarchy3"/>
    <dgm:cxn modelId="{C41B97D7-F962-4EFA-A838-353C1DD74F8E}" type="presOf" srcId="{3FA21111-6681-49E5-BC7C-86313B54A861}" destId="{33A99CA9-7BF6-4742-A201-E19F92FC10B2}" srcOrd="0" destOrd="0" presId="urn:microsoft.com/office/officeart/2005/8/layout/hierarchy3"/>
    <dgm:cxn modelId="{719CD0E8-A5D6-4E4A-83EA-5F558FE1B344}" srcId="{11F49177-3995-4BCD-A564-5EE341E9C66B}" destId="{C9594DF4-2AB0-46F3-9177-05970F554090}" srcOrd="0" destOrd="0" parTransId="{8F471ED4-EBCE-4CBE-9E48-E2AC47EE0F0A}" sibTransId="{EAE55480-F010-4928-8299-EC03C64F31AD}"/>
    <dgm:cxn modelId="{3DAB9ED7-DD0F-4EF3-A76B-85829D843FD4}" type="presOf" srcId="{F5F2B386-981B-4EFA-9D74-7102D518B3FF}" destId="{9D9EA28A-B669-4167-B3C5-4C7BD8FAB29A}" srcOrd="0" destOrd="0" presId="urn:microsoft.com/office/officeart/2005/8/layout/hierarchy3"/>
    <dgm:cxn modelId="{D1AC2D19-2208-4C94-9710-771C039EAB1B}" type="presOf" srcId="{3CE97BDB-A12F-4134-9D35-8E233CC0D9CE}" destId="{0D89EC49-89D4-4B03-98D3-7555E68717AC}" srcOrd="0" destOrd="0" presId="urn:microsoft.com/office/officeart/2005/8/layout/hierarchy3"/>
    <dgm:cxn modelId="{2F17DB44-8840-404E-8720-FD983588E302}" type="presOf" srcId="{3A463C24-063D-45AA-B8D4-428F39A070EC}" destId="{977ED55F-5A5D-4A39-8E32-562EDE6C549A}" srcOrd="1" destOrd="0" presId="urn:microsoft.com/office/officeart/2005/8/layout/hierarchy3"/>
    <dgm:cxn modelId="{BDBE2B16-9CE4-4539-8EC4-8609675A26D3}" type="presOf" srcId="{22AE29A9-5888-41C1-BBDF-9F06E04DBA43}" destId="{6B01FA34-0CA9-40A3-B36A-EB2056987679}" srcOrd="0" destOrd="0" presId="urn:microsoft.com/office/officeart/2005/8/layout/hierarchy3"/>
    <dgm:cxn modelId="{0AA8436A-7EC8-48B0-B435-171617C098D0}" type="presOf" srcId="{C2700C15-A995-407E-9FDF-6D5EBA894027}" destId="{FA64F36E-2D1A-426E-A67D-11C63EF73A58}" srcOrd="0" destOrd="0" presId="urn:microsoft.com/office/officeart/2005/8/layout/hierarchy3"/>
    <dgm:cxn modelId="{1030CBD0-9FCA-4A48-9524-0CB62DDABB39}" srcId="{11F49177-3995-4BCD-A564-5EE341E9C66B}" destId="{E1365CBB-820C-4D7B-A326-2F063FAD7445}" srcOrd="3" destOrd="0" parTransId="{C2700C15-A995-407E-9FDF-6D5EBA894027}" sibTransId="{15405B9F-49CD-461F-AD1A-EFB668745502}"/>
    <dgm:cxn modelId="{AE496818-37D8-4DC5-8C7D-D835150471FB}" srcId="{11F49177-3995-4BCD-A564-5EE341E9C66B}" destId="{3CE97BDB-A12F-4134-9D35-8E233CC0D9CE}" srcOrd="2" destOrd="0" parTransId="{E7E6CD91-02A8-48AF-9571-FA5F3CE167F7}" sibTransId="{F72DD7EC-205A-45CB-A6DD-C8680EF9916A}"/>
    <dgm:cxn modelId="{0714D6F9-A121-454F-B83F-222FEF81CF4E}" type="presOf" srcId="{F864642C-6607-4F08-8BC6-68B5B58ACC50}" destId="{9EC5069C-029B-4F45-898C-AB454D5D3CDC}" srcOrd="0" destOrd="0" presId="urn:microsoft.com/office/officeart/2005/8/layout/hierarchy3"/>
    <dgm:cxn modelId="{A12FEAB8-277A-471F-B582-F144EDB92613}" srcId="{CDD1A2CA-6C3B-4914-AE20-648CBB26DADF}" destId="{B319BAD1-AF3E-47CE-9B0E-C4206BD9D8D0}" srcOrd="4" destOrd="0" parTransId="{3D9E5F54-0BD3-4DF0-862F-A3378E0CE63E}" sibTransId="{C9EBA853-156F-4C08-AA7C-B6B54D3A9203}"/>
    <dgm:cxn modelId="{F6DDCFE1-BD71-4741-B133-9083C242A507}" type="presOf" srcId="{CF8E5254-4625-41CE-B927-A311E77A47F1}" destId="{F4911F76-9A9C-4B22-B26E-F53D42D83195}" srcOrd="0" destOrd="0" presId="urn:microsoft.com/office/officeart/2005/8/layout/hierarchy3"/>
    <dgm:cxn modelId="{BB7DC7D3-A911-4AF2-AA5C-8478D1089EB3}" type="presOf" srcId="{04FCE50A-35CA-4590-BBAC-78EF163BA66E}" destId="{C454C692-3100-4566-B059-DF0DD4DA153D}" srcOrd="0" destOrd="0" presId="urn:microsoft.com/office/officeart/2005/8/layout/hierarchy3"/>
    <dgm:cxn modelId="{08C8C738-DD66-42C5-813F-A8001AD97CC8}" srcId="{CDD1A2CA-6C3B-4914-AE20-648CBB26DADF}" destId="{F5435FF6-E102-4EC1-B600-A6B1AA9A4DED}" srcOrd="0" destOrd="0" parTransId="{15816DC7-DD1E-4D6B-B4E4-DB77DDEE5C4B}" sibTransId="{46DB4B13-19AA-49CA-854E-185BB5770DB3}"/>
    <dgm:cxn modelId="{7EBDD147-92AA-49D3-B8E2-FE71BC4AAD69}" type="presOf" srcId="{8C4D2C99-D312-4B5B-832A-541AFB7DD0C0}" destId="{9F9C1E21-BEBA-458A-9617-9D8A5C7827E0}" srcOrd="0" destOrd="0" presId="urn:microsoft.com/office/officeart/2005/8/layout/hierarchy3"/>
    <dgm:cxn modelId="{6B8201CB-C7A8-4FF2-858F-9167C618246A}" type="presOf" srcId="{E79A5279-FCB8-487B-8C48-D407CE6D8430}" destId="{75F2F5B4-7DC8-4760-9E8F-E5CA8BD37F8F}" srcOrd="0" destOrd="0" presId="urn:microsoft.com/office/officeart/2005/8/layout/hierarchy3"/>
    <dgm:cxn modelId="{EA2EE9E5-0C3B-4D51-8545-F679728EB93E}" type="presOf" srcId="{1B95FAD2-2425-4264-B1BC-7FDF6BC3FA27}" destId="{9D8120FE-137F-4523-BBE1-29D50FFF6CF5}" srcOrd="0" destOrd="0" presId="urn:microsoft.com/office/officeart/2005/8/layout/hierarchy3"/>
    <dgm:cxn modelId="{7D606CCF-E4EE-43BC-8A94-B5E94A3D8ACE}" type="presOf" srcId="{8E636ADB-D24A-4DEC-B5DD-0507212F5A70}" destId="{F0606E1E-D41C-4C5D-9D20-EA675533C0EE}" srcOrd="0" destOrd="0" presId="urn:microsoft.com/office/officeart/2005/8/layout/hierarchy3"/>
    <dgm:cxn modelId="{E9977B99-B911-48B3-BE76-44F45080A6CB}" srcId="{E79A5279-FCB8-487B-8C48-D407CE6D8430}" destId="{04FCE50A-35CA-4590-BBAC-78EF163BA66E}" srcOrd="3" destOrd="0" parTransId="{F4886406-1AB9-4445-B266-6B4FEAAE36A2}" sibTransId="{844BBA03-8649-403E-833B-DB15F63E47C5}"/>
    <dgm:cxn modelId="{096AB7D8-BC3F-4F89-8713-2B4207F91220}" type="presOf" srcId="{2B30DCFA-91C4-4BA3-B138-F748839E64EB}" destId="{3FD3283E-AE0A-4BF7-B31F-82D03ED3885D}" srcOrd="0" destOrd="0" presId="urn:microsoft.com/office/officeart/2005/8/layout/hierarchy3"/>
    <dgm:cxn modelId="{553AFA7A-1E71-442B-98C1-7BE88590706F}" type="presOf" srcId="{3E657700-1D7D-4863-AEEC-16F65DA5C075}" destId="{DE590260-9BB6-4FA3-B4C0-73B084E44376}" srcOrd="0" destOrd="0" presId="urn:microsoft.com/office/officeart/2005/8/layout/hierarchy3"/>
    <dgm:cxn modelId="{F882D87D-56B2-4D29-AEF6-A411DB1882FE}" srcId="{E79A5279-FCB8-487B-8C48-D407CE6D8430}" destId="{C917278E-C1BF-41B3-AFFE-D4753C963A18}" srcOrd="1" destOrd="0" parTransId="{42EABA6A-814F-4CBE-9D22-75991D639F55}" sibTransId="{E60FD155-EE05-4426-B3BA-048532B2EDA2}"/>
    <dgm:cxn modelId="{27EB66D1-61DE-4239-9085-2A5519EDA215}" srcId="{F5435FF6-E102-4EC1-B600-A6B1AA9A4DED}" destId="{F1FF0787-5BCB-4E17-A694-FF1FD0BB9CED}" srcOrd="1" destOrd="0" parTransId="{1B95FAD2-2425-4264-B1BC-7FDF6BC3FA27}" sibTransId="{1D86D84E-BEAD-4C3D-8224-10AF56E5DC7D}"/>
    <dgm:cxn modelId="{6360F829-AE79-46EB-BEDE-2BE847ECBB07}" srcId="{3A463C24-063D-45AA-B8D4-428F39A070EC}" destId="{8C4D2C99-D312-4B5B-832A-541AFB7DD0C0}" srcOrd="3" destOrd="0" parTransId="{950E432E-9590-4FAB-9D1A-9B281BFC8371}" sibTransId="{64F1715F-DE8C-43DD-8E46-7CE7B7F3FCA8}"/>
    <dgm:cxn modelId="{3AF5F79B-2DA7-4C30-A3DC-54CA2EC6CC50}" srcId="{3A463C24-063D-45AA-B8D4-428F39A070EC}" destId="{B93D1667-EFAC-44A3-9BF2-60AC544713E9}" srcOrd="0" destOrd="0" parTransId="{3E657700-1D7D-4863-AEEC-16F65DA5C075}" sibTransId="{798718C3-8466-4DFD-995A-D9FF43DBE828}"/>
    <dgm:cxn modelId="{1ED4603D-42B9-440C-BD91-BC623F95E627}" type="presOf" srcId="{8F471ED4-EBCE-4CBE-9E48-E2AC47EE0F0A}" destId="{787E3E57-563F-407B-A0B3-5AEBFEF7A5FB}" srcOrd="0" destOrd="0" presId="urn:microsoft.com/office/officeart/2005/8/layout/hierarchy3"/>
    <dgm:cxn modelId="{50B7FAB2-C981-4F1B-A789-9BBA9A31538B}" type="presOf" srcId="{C28F32F5-F941-4075-ACBE-5EB967819069}" destId="{A119F32E-E951-4031-9342-C1DBB391D7D7}" srcOrd="0" destOrd="0" presId="urn:microsoft.com/office/officeart/2005/8/layout/hierarchy3"/>
    <dgm:cxn modelId="{854975D7-C5B3-4EAA-B8A2-D139FCC5195E}" type="presOf" srcId="{59B3D873-CACF-463C-98AE-892E89BF5070}" destId="{A9816D2E-DA70-4E00-878E-DC11CA2EF98E}" srcOrd="0" destOrd="0" presId="urn:microsoft.com/office/officeart/2005/8/layout/hierarchy3"/>
    <dgm:cxn modelId="{E7245A3C-0D01-4128-AEC0-FFD7CFFB5916}" type="presOf" srcId="{F1FF0787-5BCB-4E17-A694-FF1FD0BB9CED}" destId="{9FA0AE1B-BED9-40D2-980A-B6F676195283}" srcOrd="0" destOrd="0" presId="urn:microsoft.com/office/officeart/2005/8/layout/hierarchy3"/>
    <dgm:cxn modelId="{3956A008-5FFB-473F-9459-03935438AE6C}" srcId="{F5435FF6-E102-4EC1-B600-A6B1AA9A4DED}" destId="{283BC570-C274-4FC8-94A4-B2B068A272B9}" srcOrd="0" destOrd="0" parTransId="{608C65F0-F38F-4097-A48C-F45858B3CEB2}" sibTransId="{C2E5B002-747C-498A-9C79-10A92ABA2D1E}"/>
    <dgm:cxn modelId="{F9CF390A-BFEE-4FA6-9633-2D22BE4F5FCD}" srcId="{B319BAD1-AF3E-47CE-9B0E-C4206BD9D8D0}" destId="{A4EF5B53-BBE5-429A-A10D-2FA367391B18}" srcOrd="2" destOrd="0" parTransId="{A193A8BB-FBAD-4B26-A8C3-DA5DDC8D4106}" sibTransId="{DD8FE329-D6A7-4CA3-AFF3-EB9DB32B2E44}"/>
    <dgm:cxn modelId="{E06702DD-70C8-4C51-A360-8215A48515A3}" type="presOf" srcId="{368B68A6-97BE-4844-9A69-E684519B36E6}" destId="{652F2104-2B98-4993-B60C-C4BEB6C3F9A4}" srcOrd="0" destOrd="0" presId="urn:microsoft.com/office/officeart/2005/8/layout/hierarchy3"/>
    <dgm:cxn modelId="{F944F6E1-4F4B-4343-ABF3-9456B80412BD}" type="presOf" srcId="{608C65F0-F38F-4097-A48C-F45858B3CEB2}" destId="{72C812EC-9E65-4813-BE2C-80CBFE7693E3}" srcOrd="0" destOrd="0" presId="urn:microsoft.com/office/officeart/2005/8/layout/hierarchy3"/>
    <dgm:cxn modelId="{FDF6BD1F-7254-4DB5-A8F5-F1FD2AB4C101}" srcId="{3A463C24-063D-45AA-B8D4-428F39A070EC}" destId="{A53E4C47-CAD7-455E-8384-340D5CF66625}" srcOrd="1" destOrd="0" parTransId="{DEDB0C4E-D840-4062-89F5-F7CD1E9B1C10}" sibTransId="{45E2143E-EAEB-4AE2-8FF3-F6896D11C8E5}"/>
    <dgm:cxn modelId="{526FE7F3-77F3-4389-9614-1FA5AADC70D6}" type="presOf" srcId="{FF226748-AF58-4CED-A3C1-9B381469CF6E}" destId="{C94DB343-63A1-47D2-AD8F-DF9440F73667}" srcOrd="0" destOrd="0" presId="urn:microsoft.com/office/officeart/2005/8/layout/hierarchy3"/>
    <dgm:cxn modelId="{E17BA7A5-9A5D-449A-92D6-EE8F7D2CCA46}" type="presOf" srcId="{E1365CBB-820C-4D7B-A326-2F063FAD7445}" destId="{6C36E34D-8B0A-497C-BB29-F284E5F31412}" srcOrd="0" destOrd="0" presId="urn:microsoft.com/office/officeart/2005/8/layout/hierarchy3"/>
    <dgm:cxn modelId="{106D2F3A-41C5-421F-88BD-2EA86C22D1ED}" srcId="{E79A5279-FCB8-487B-8C48-D407CE6D8430}" destId="{F5F2B386-981B-4EFA-9D74-7102D518B3FF}" srcOrd="2" destOrd="0" parTransId="{8DDF91CC-6433-4DE5-89AB-F16EC4FAB4DF}" sibTransId="{F6B11F20-AC36-4EF6-8005-0FE925AD6203}"/>
    <dgm:cxn modelId="{37C32F03-234C-4FD8-AA92-F51D7CDE337C}" type="presOf" srcId="{4199130D-4943-4943-AFE5-1902E034C0BD}" destId="{04DCCFC8-BC74-492B-B0FD-900A148484D2}" srcOrd="0" destOrd="0" presId="urn:microsoft.com/office/officeart/2005/8/layout/hierarchy3"/>
    <dgm:cxn modelId="{9876B0DC-68FC-4E18-9530-2ADE8F7F5253}" type="presOf" srcId="{9D0BE036-F237-480A-8501-F4A88A017B99}" destId="{EA69A573-D679-41CB-B214-7C2CF9DDCE0A}" srcOrd="0" destOrd="0" presId="urn:microsoft.com/office/officeart/2005/8/layout/hierarchy3"/>
    <dgm:cxn modelId="{EDB4C0CA-BAE4-43E5-B0F3-F5E28594A870}" type="presOf" srcId="{11F49177-3995-4BCD-A564-5EE341E9C66B}" destId="{90EDBBC7-8E0A-4C7F-8B27-519499A438B8}" srcOrd="1" destOrd="0" presId="urn:microsoft.com/office/officeart/2005/8/layout/hierarchy3"/>
    <dgm:cxn modelId="{27556F2D-7E49-4BFF-BC8D-A3207C37A844}" type="presOf" srcId="{A4EF5B53-BBE5-429A-A10D-2FA367391B18}" destId="{9E30D907-DE71-4F8F-A754-AD7B1CAA9355}" srcOrd="0" destOrd="0" presId="urn:microsoft.com/office/officeart/2005/8/layout/hierarchy3"/>
    <dgm:cxn modelId="{EFEDD199-211E-4B7A-B4D2-DD20DD54869F}" type="presOf" srcId="{950E432E-9590-4FAB-9D1A-9B281BFC8371}" destId="{8579FCA0-EB77-4AD6-A3C9-4D81E6319383}" srcOrd="0" destOrd="0" presId="urn:microsoft.com/office/officeart/2005/8/layout/hierarchy3"/>
    <dgm:cxn modelId="{5460BB76-D9EB-4D6F-A429-FC692A18437C}" type="presOf" srcId="{D0A0B3A0-9DFC-4056-80D9-14694500AC86}" destId="{ABD4D5D7-0F11-4C80-A380-C0FE6878095B}" srcOrd="0" destOrd="0" presId="urn:microsoft.com/office/officeart/2005/8/layout/hierarchy3"/>
    <dgm:cxn modelId="{2F87F40D-51A0-4028-8E7D-6B72A0D408C1}" srcId="{B319BAD1-AF3E-47CE-9B0E-C4206BD9D8D0}" destId="{59B3D873-CACF-463C-98AE-892E89BF5070}" srcOrd="0" destOrd="0" parTransId="{FE41C311-F546-4631-9D03-A6B811AFDB0C}" sibTransId="{8020F072-686C-4122-A0D5-84D892574E24}"/>
    <dgm:cxn modelId="{AF2FC58F-2225-477F-97E6-C6D8F2374A21}" type="presOf" srcId="{42EABA6A-814F-4CBE-9D22-75991D639F55}" destId="{AFCE797B-C5CA-4642-A00D-DFE40D798A30}" srcOrd="0" destOrd="0" presId="urn:microsoft.com/office/officeart/2005/8/layout/hierarchy3"/>
    <dgm:cxn modelId="{8B68732B-4AB2-4D50-BFE0-10414C5AA7C7}" type="presOf" srcId="{E79A5279-FCB8-487B-8C48-D407CE6D8430}" destId="{F18A9BCC-99A6-4424-A053-86A91686587F}" srcOrd="1" destOrd="0" presId="urn:microsoft.com/office/officeart/2005/8/layout/hierarchy3"/>
    <dgm:cxn modelId="{656488F1-7AE5-4774-828C-6DA100E77F6E}" type="presOf" srcId="{F5435FF6-E102-4EC1-B600-A6B1AA9A4DED}" destId="{2AB644B3-0252-4307-B9A5-92B983EE290D}" srcOrd="1" destOrd="0" presId="urn:microsoft.com/office/officeart/2005/8/layout/hierarchy3"/>
    <dgm:cxn modelId="{A6B0473D-4A5C-4872-97A7-77D18FFF7768}" type="presOf" srcId="{C917278E-C1BF-41B3-AFFE-D4753C963A18}" destId="{231CC70D-1AE3-49B7-B555-27E1A0D388B5}" srcOrd="0" destOrd="0" presId="urn:microsoft.com/office/officeart/2005/8/layout/hierarchy3"/>
    <dgm:cxn modelId="{9D6DABC1-E016-45E9-BEBC-EB15E1E914A0}" type="presOf" srcId="{72FAB297-C3B7-4AB3-AAF5-029EC3BEFF87}" destId="{F63EE71F-0796-4F9E-BA47-2F2E561A6BB2}" srcOrd="0" destOrd="0" presId="urn:microsoft.com/office/officeart/2005/8/layout/hierarchy3"/>
    <dgm:cxn modelId="{5B2DC3BB-1287-4779-8FD2-F64AB764BABE}" type="presOf" srcId="{283BC570-C274-4FC8-94A4-B2B068A272B9}" destId="{7BA5E44C-174D-48B8-A470-E69BD735F58D}" srcOrd="0" destOrd="0" presId="urn:microsoft.com/office/officeart/2005/8/layout/hierarchy3"/>
    <dgm:cxn modelId="{847DAAEA-6B19-442D-BB25-FAE9418A2F4A}" type="presOf" srcId="{B88C5242-732C-4783-BD5E-61A8B692FC66}" destId="{3764CD6C-89AB-4715-AACE-875A113F8EEF}" srcOrd="0" destOrd="0" presId="urn:microsoft.com/office/officeart/2005/8/layout/hierarchy3"/>
    <dgm:cxn modelId="{A753A122-A807-4957-B715-5B5DD5CEDFCC}" type="presParOf" srcId="{BF4A89ED-60B5-473C-8D5F-83068BD31865}" destId="{6829BD89-6B31-4E64-B5D4-C31496149E55}" srcOrd="0" destOrd="0" presId="urn:microsoft.com/office/officeart/2005/8/layout/hierarchy3"/>
    <dgm:cxn modelId="{98BF608A-DC51-4DA0-A73E-5B1EA3F42133}" type="presParOf" srcId="{6829BD89-6B31-4E64-B5D4-C31496149E55}" destId="{868D6942-F3E8-4B4F-9A2E-A95E3AA615AA}" srcOrd="0" destOrd="0" presId="urn:microsoft.com/office/officeart/2005/8/layout/hierarchy3"/>
    <dgm:cxn modelId="{9F0B5177-CEBC-4C23-99A6-AF5EFBF66A25}" type="presParOf" srcId="{868D6942-F3E8-4B4F-9A2E-A95E3AA615AA}" destId="{099D7907-6B5A-48B8-B270-B5A9D55CA771}" srcOrd="0" destOrd="0" presId="urn:microsoft.com/office/officeart/2005/8/layout/hierarchy3"/>
    <dgm:cxn modelId="{24BD967A-393D-474D-9723-20B4C96DE6FD}" type="presParOf" srcId="{868D6942-F3E8-4B4F-9A2E-A95E3AA615AA}" destId="{2AB644B3-0252-4307-B9A5-92B983EE290D}" srcOrd="1" destOrd="0" presId="urn:microsoft.com/office/officeart/2005/8/layout/hierarchy3"/>
    <dgm:cxn modelId="{8E45DCDC-1B30-4F82-82AC-3C4C32C5244C}" type="presParOf" srcId="{6829BD89-6B31-4E64-B5D4-C31496149E55}" destId="{4AAD6BD1-5C65-47E3-8459-5F8A8FDB6FAC}" srcOrd="1" destOrd="0" presId="urn:microsoft.com/office/officeart/2005/8/layout/hierarchy3"/>
    <dgm:cxn modelId="{9DAF0670-5659-473E-A092-F8EE47FEECA0}" type="presParOf" srcId="{4AAD6BD1-5C65-47E3-8459-5F8A8FDB6FAC}" destId="{72C812EC-9E65-4813-BE2C-80CBFE7693E3}" srcOrd="0" destOrd="0" presId="urn:microsoft.com/office/officeart/2005/8/layout/hierarchy3"/>
    <dgm:cxn modelId="{472563AE-CAE9-4093-9E43-CFBA31BCB2E8}" type="presParOf" srcId="{4AAD6BD1-5C65-47E3-8459-5F8A8FDB6FAC}" destId="{7BA5E44C-174D-48B8-A470-E69BD735F58D}" srcOrd="1" destOrd="0" presId="urn:microsoft.com/office/officeart/2005/8/layout/hierarchy3"/>
    <dgm:cxn modelId="{560B129D-03A9-4E6D-9556-E32F56FA5E77}" type="presParOf" srcId="{4AAD6BD1-5C65-47E3-8459-5F8A8FDB6FAC}" destId="{9D8120FE-137F-4523-BBE1-29D50FFF6CF5}" srcOrd="2" destOrd="0" presId="urn:microsoft.com/office/officeart/2005/8/layout/hierarchy3"/>
    <dgm:cxn modelId="{7901F127-2080-4A7D-955B-D3A92B9672CD}" type="presParOf" srcId="{4AAD6BD1-5C65-47E3-8459-5F8A8FDB6FAC}" destId="{9FA0AE1B-BED9-40D2-980A-B6F676195283}" srcOrd="3" destOrd="0" presId="urn:microsoft.com/office/officeart/2005/8/layout/hierarchy3"/>
    <dgm:cxn modelId="{D5CAA734-94A8-47F0-B670-948752B5132C}" type="presParOf" srcId="{4AAD6BD1-5C65-47E3-8459-5F8A8FDB6FAC}" destId="{04DCCFC8-BC74-492B-B0FD-900A148484D2}" srcOrd="4" destOrd="0" presId="urn:microsoft.com/office/officeart/2005/8/layout/hierarchy3"/>
    <dgm:cxn modelId="{97C05E6E-10D7-4603-BC30-F9775E6F4C13}" type="presParOf" srcId="{4AAD6BD1-5C65-47E3-8459-5F8A8FDB6FAC}" destId="{3764CD6C-89AB-4715-AACE-875A113F8EEF}" srcOrd="5" destOrd="0" presId="urn:microsoft.com/office/officeart/2005/8/layout/hierarchy3"/>
    <dgm:cxn modelId="{CA076E61-F881-49B4-BD65-8F15BD7BC1D2}" type="presParOf" srcId="{4AAD6BD1-5C65-47E3-8459-5F8A8FDB6FAC}" destId="{C94DB343-63A1-47D2-AD8F-DF9440F73667}" srcOrd="6" destOrd="0" presId="urn:microsoft.com/office/officeart/2005/8/layout/hierarchy3"/>
    <dgm:cxn modelId="{1014AAC4-F1C0-4FC7-9F1E-6376EC6413F4}" type="presParOf" srcId="{4AAD6BD1-5C65-47E3-8459-5F8A8FDB6FAC}" destId="{9EC5069C-029B-4F45-898C-AB454D5D3CDC}" srcOrd="7" destOrd="0" presId="urn:microsoft.com/office/officeart/2005/8/layout/hierarchy3"/>
    <dgm:cxn modelId="{DE1328CC-54AC-4D9F-ADC4-CCCF6BE1F7C8}" type="presParOf" srcId="{4AAD6BD1-5C65-47E3-8459-5F8A8FDB6FAC}" destId="{3FD3283E-AE0A-4BF7-B31F-82D03ED3885D}" srcOrd="8" destOrd="0" presId="urn:microsoft.com/office/officeart/2005/8/layout/hierarchy3"/>
    <dgm:cxn modelId="{0AA6CF2C-0544-4F14-9048-C90F5B183AC7}" type="presParOf" srcId="{4AAD6BD1-5C65-47E3-8459-5F8A8FDB6FAC}" destId="{6EF5706C-653F-4530-BA9F-4E926AB4E71C}" srcOrd="9" destOrd="0" presId="urn:microsoft.com/office/officeart/2005/8/layout/hierarchy3"/>
    <dgm:cxn modelId="{9513EED8-B576-4E69-B793-02E7E3676EBA}" type="presParOf" srcId="{BF4A89ED-60B5-473C-8D5F-83068BD31865}" destId="{542005D0-9222-4E44-9236-B7A339FBABBB}" srcOrd="1" destOrd="0" presId="urn:microsoft.com/office/officeart/2005/8/layout/hierarchy3"/>
    <dgm:cxn modelId="{BBADDCB9-E405-4642-90CB-0FA88DF7EE8C}" type="presParOf" srcId="{542005D0-9222-4E44-9236-B7A339FBABBB}" destId="{1F3E992F-4119-48F9-89D6-0BA01247FC7C}" srcOrd="0" destOrd="0" presId="urn:microsoft.com/office/officeart/2005/8/layout/hierarchy3"/>
    <dgm:cxn modelId="{39B45C3C-7B2F-4896-8A99-00A1E752D66B}" type="presParOf" srcId="{1F3E992F-4119-48F9-89D6-0BA01247FC7C}" destId="{70F08F49-0972-47C1-8C97-D0E51488DF7E}" srcOrd="0" destOrd="0" presId="urn:microsoft.com/office/officeart/2005/8/layout/hierarchy3"/>
    <dgm:cxn modelId="{5AFA8F4C-33E7-449B-8504-E81A7FD50B25}" type="presParOf" srcId="{1F3E992F-4119-48F9-89D6-0BA01247FC7C}" destId="{90EDBBC7-8E0A-4C7F-8B27-519499A438B8}" srcOrd="1" destOrd="0" presId="urn:microsoft.com/office/officeart/2005/8/layout/hierarchy3"/>
    <dgm:cxn modelId="{B1A736DC-CC96-4801-A581-E4FC49ED88BB}" type="presParOf" srcId="{542005D0-9222-4E44-9236-B7A339FBABBB}" destId="{5AF5D3F6-3A9F-4D91-81C8-4C75FBFA28B9}" srcOrd="1" destOrd="0" presId="urn:microsoft.com/office/officeart/2005/8/layout/hierarchy3"/>
    <dgm:cxn modelId="{806A4F57-56C2-42D7-AF17-EDBF04944B29}" type="presParOf" srcId="{5AF5D3F6-3A9F-4D91-81C8-4C75FBFA28B9}" destId="{787E3E57-563F-407B-A0B3-5AEBFEF7A5FB}" srcOrd="0" destOrd="0" presId="urn:microsoft.com/office/officeart/2005/8/layout/hierarchy3"/>
    <dgm:cxn modelId="{43414A92-C16E-4238-83B4-46DC8B528832}" type="presParOf" srcId="{5AF5D3F6-3A9F-4D91-81C8-4C75FBFA28B9}" destId="{0B3D6865-C630-4860-BD26-16F78FDA400C}" srcOrd="1" destOrd="0" presId="urn:microsoft.com/office/officeart/2005/8/layout/hierarchy3"/>
    <dgm:cxn modelId="{EC3AB65D-77BC-4320-9D77-558318E33525}" type="presParOf" srcId="{5AF5D3F6-3A9F-4D91-81C8-4C75FBFA28B9}" destId="{6B01FA34-0CA9-40A3-B36A-EB2056987679}" srcOrd="2" destOrd="0" presId="urn:microsoft.com/office/officeart/2005/8/layout/hierarchy3"/>
    <dgm:cxn modelId="{3EB9B783-E69F-42A1-ADB1-D2BBD107DA51}" type="presParOf" srcId="{5AF5D3F6-3A9F-4D91-81C8-4C75FBFA28B9}" destId="{089C3BFC-AF96-4881-9F02-D44406E48DC6}" srcOrd="3" destOrd="0" presId="urn:microsoft.com/office/officeart/2005/8/layout/hierarchy3"/>
    <dgm:cxn modelId="{7ECF6DE4-1A7B-437E-B42A-5CD0A7C4ABB4}" type="presParOf" srcId="{5AF5D3F6-3A9F-4D91-81C8-4C75FBFA28B9}" destId="{77861E29-E91C-4864-B411-1E2AD73A1D78}" srcOrd="4" destOrd="0" presId="urn:microsoft.com/office/officeart/2005/8/layout/hierarchy3"/>
    <dgm:cxn modelId="{B8F31E6F-EC25-4FA8-858E-C0597A8D0496}" type="presParOf" srcId="{5AF5D3F6-3A9F-4D91-81C8-4C75FBFA28B9}" destId="{0D89EC49-89D4-4B03-98D3-7555E68717AC}" srcOrd="5" destOrd="0" presId="urn:microsoft.com/office/officeart/2005/8/layout/hierarchy3"/>
    <dgm:cxn modelId="{752D9E8C-A948-4F00-8BAB-40E84645C32D}" type="presParOf" srcId="{5AF5D3F6-3A9F-4D91-81C8-4C75FBFA28B9}" destId="{FA64F36E-2D1A-426E-A67D-11C63EF73A58}" srcOrd="6" destOrd="0" presId="urn:microsoft.com/office/officeart/2005/8/layout/hierarchy3"/>
    <dgm:cxn modelId="{0BBF1386-76EE-40D1-A18C-06AC0D3F050B}" type="presParOf" srcId="{5AF5D3F6-3A9F-4D91-81C8-4C75FBFA28B9}" destId="{6C36E34D-8B0A-497C-BB29-F284E5F31412}" srcOrd="7" destOrd="0" presId="urn:microsoft.com/office/officeart/2005/8/layout/hierarchy3"/>
    <dgm:cxn modelId="{BD790C72-618F-494A-A75F-CFE515022231}" type="presParOf" srcId="{5AF5D3F6-3A9F-4D91-81C8-4C75FBFA28B9}" destId="{EA69A573-D679-41CB-B214-7C2CF9DDCE0A}" srcOrd="8" destOrd="0" presId="urn:microsoft.com/office/officeart/2005/8/layout/hierarchy3"/>
    <dgm:cxn modelId="{B6C74165-42D6-4379-BDE2-A9AF5F1865B2}" type="presParOf" srcId="{5AF5D3F6-3A9F-4D91-81C8-4C75FBFA28B9}" destId="{F0606E1E-D41C-4C5D-9D20-EA675533C0EE}" srcOrd="9" destOrd="0" presId="urn:microsoft.com/office/officeart/2005/8/layout/hierarchy3"/>
    <dgm:cxn modelId="{8F5099C8-086F-4A4E-B9C7-15A082F5E8D4}" type="presParOf" srcId="{BF4A89ED-60B5-473C-8D5F-83068BD31865}" destId="{C0A1C957-E38B-47A9-8E4B-F6EEF4937AA9}" srcOrd="2" destOrd="0" presId="urn:microsoft.com/office/officeart/2005/8/layout/hierarchy3"/>
    <dgm:cxn modelId="{B5D79CFF-BB0E-42C7-8F32-AA83866E7C40}" type="presParOf" srcId="{C0A1C957-E38B-47A9-8E4B-F6EEF4937AA9}" destId="{FDE5878C-0103-4DBC-85A9-74EC8EEA4F2E}" srcOrd="0" destOrd="0" presId="urn:microsoft.com/office/officeart/2005/8/layout/hierarchy3"/>
    <dgm:cxn modelId="{6B91C49A-3B96-4A08-968C-267D0913671E}" type="presParOf" srcId="{FDE5878C-0103-4DBC-85A9-74EC8EEA4F2E}" destId="{75F2F5B4-7DC8-4760-9E8F-E5CA8BD37F8F}" srcOrd="0" destOrd="0" presId="urn:microsoft.com/office/officeart/2005/8/layout/hierarchy3"/>
    <dgm:cxn modelId="{CF33CD06-1722-40AC-A951-3ED592FDA06F}" type="presParOf" srcId="{FDE5878C-0103-4DBC-85A9-74EC8EEA4F2E}" destId="{F18A9BCC-99A6-4424-A053-86A91686587F}" srcOrd="1" destOrd="0" presId="urn:microsoft.com/office/officeart/2005/8/layout/hierarchy3"/>
    <dgm:cxn modelId="{6B053B69-9307-450C-9944-16480999649B}" type="presParOf" srcId="{C0A1C957-E38B-47A9-8E4B-F6EEF4937AA9}" destId="{278FE181-902E-4344-BEF5-5B02A06C3AFC}" srcOrd="1" destOrd="0" presId="urn:microsoft.com/office/officeart/2005/8/layout/hierarchy3"/>
    <dgm:cxn modelId="{2C9FCFA6-747C-499E-AB9C-9595905A3CC7}" type="presParOf" srcId="{278FE181-902E-4344-BEF5-5B02A06C3AFC}" destId="{F4911F76-9A9C-4B22-B26E-F53D42D83195}" srcOrd="0" destOrd="0" presId="urn:microsoft.com/office/officeart/2005/8/layout/hierarchy3"/>
    <dgm:cxn modelId="{468A2EA6-AC21-4660-BF6C-423460E2752A}" type="presParOf" srcId="{278FE181-902E-4344-BEF5-5B02A06C3AFC}" destId="{33A99CA9-7BF6-4742-A201-E19F92FC10B2}" srcOrd="1" destOrd="0" presId="urn:microsoft.com/office/officeart/2005/8/layout/hierarchy3"/>
    <dgm:cxn modelId="{5339855E-AE54-4E1A-B359-1EC01A551D81}" type="presParOf" srcId="{278FE181-902E-4344-BEF5-5B02A06C3AFC}" destId="{AFCE797B-C5CA-4642-A00D-DFE40D798A30}" srcOrd="2" destOrd="0" presId="urn:microsoft.com/office/officeart/2005/8/layout/hierarchy3"/>
    <dgm:cxn modelId="{04FE75FA-DAA1-4683-9790-21A89F07D034}" type="presParOf" srcId="{278FE181-902E-4344-BEF5-5B02A06C3AFC}" destId="{231CC70D-1AE3-49B7-B555-27E1A0D388B5}" srcOrd="3" destOrd="0" presId="urn:microsoft.com/office/officeart/2005/8/layout/hierarchy3"/>
    <dgm:cxn modelId="{141DE8B0-ABD7-4F51-B5F3-3C69B2F89636}" type="presParOf" srcId="{278FE181-902E-4344-BEF5-5B02A06C3AFC}" destId="{A18F4BED-1D84-4956-90FD-48553030F1C9}" srcOrd="4" destOrd="0" presId="urn:microsoft.com/office/officeart/2005/8/layout/hierarchy3"/>
    <dgm:cxn modelId="{4311E8D6-1B3C-4DD1-A29E-B5F9AB05214C}" type="presParOf" srcId="{278FE181-902E-4344-BEF5-5B02A06C3AFC}" destId="{9D9EA28A-B669-4167-B3C5-4C7BD8FAB29A}" srcOrd="5" destOrd="0" presId="urn:microsoft.com/office/officeart/2005/8/layout/hierarchy3"/>
    <dgm:cxn modelId="{68BE16F7-C085-490B-8AA7-5AC6494BA85F}" type="presParOf" srcId="{278FE181-902E-4344-BEF5-5B02A06C3AFC}" destId="{546253F9-B5B0-4047-BDB9-90EF6C1B6851}" srcOrd="6" destOrd="0" presId="urn:microsoft.com/office/officeart/2005/8/layout/hierarchy3"/>
    <dgm:cxn modelId="{BCC0471A-E6FB-4C57-90AE-2C94A65E78DB}" type="presParOf" srcId="{278FE181-902E-4344-BEF5-5B02A06C3AFC}" destId="{C454C692-3100-4566-B059-DF0DD4DA153D}" srcOrd="7" destOrd="0" presId="urn:microsoft.com/office/officeart/2005/8/layout/hierarchy3"/>
    <dgm:cxn modelId="{2BFC7D71-B39D-4DF1-9232-ECF88F97A979}" type="presParOf" srcId="{BF4A89ED-60B5-473C-8D5F-83068BD31865}" destId="{1265D664-1D49-48C4-97C0-C8A4CABFAB3B}" srcOrd="3" destOrd="0" presId="urn:microsoft.com/office/officeart/2005/8/layout/hierarchy3"/>
    <dgm:cxn modelId="{B206FF0F-CB6E-4112-831B-B71DED0E59BF}" type="presParOf" srcId="{1265D664-1D49-48C4-97C0-C8A4CABFAB3B}" destId="{6910BB31-1E1C-4C1A-91BC-FC118C31EEC1}" srcOrd="0" destOrd="0" presId="urn:microsoft.com/office/officeart/2005/8/layout/hierarchy3"/>
    <dgm:cxn modelId="{131CE781-30D1-4C9C-90BC-5B6466E08F75}" type="presParOf" srcId="{6910BB31-1E1C-4C1A-91BC-FC118C31EEC1}" destId="{37D78093-A4FD-4127-B6A6-29E09A44A172}" srcOrd="0" destOrd="0" presId="urn:microsoft.com/office/officeart/2005/8/layout/hierarchy3"/>
    <dgm:cxn modelId="{69940E2D-D995-4654-BA43-51E332BE3FA0}" type="presParOf" srcId="{6910BB31-1E1C-4C1A-91BC-FC118C31EEC1}" destId="{977ED55F-5A5D-4A39-8E32-562EDE6C549A}" srcOrd="1" destOrd="0" presId="urn:microsoft.com/office/officeart/2005/8/layout/hierarchy3"/>
    <dgm:cxn modelId="{E6AF12A8-239A-4B23-917F-44ADDE6231B5}" type="presParOf" srcId="{1265D664-1D49-48C4-97C0-C8A4CABFAB3B}" destId="{7520227C-45F0-4BCD-B5C8-55A31936BBDC}" srcOrd="1" destOrd="0" presId="urn:microsoft.com/office/officeart/2005/8/layout/hierarchy3"/>
    <dgm:cxn modelId="{6A415D5B-6C35-4968-B3A9-264DFD8BB30E}" type="presParOf" srcId="{7520227C-45F0-4BCD-B5C8-55A31936BBDC}" destId="{DE590260-9BB6-4FA3-B4C0-73B084E44376}" srcOrd="0" destOrd="0" presId="urn:microsoft.com/office/officeart/2005/8/layout/hierarchy3"/>
    <dgm:cxn modelId="{6E51FBF1-577E-40B9-BA59-6308610A9455}" type="presParOf" srcId="{7520227C-45F0-4BCD-B5C8-55A31936BBDC}" destId="{19F7F2CE-A4BB-4B5B-B2AA-277A887B78B2}" srcOrd="1" destOrd="0" presId="urn:microsoft.com/office/officeart/2005/8/layout/hierarchy3"/>
    <dgm:cxn modelId="{E0534F80-2EFA-42B1-9DB3-6D89B34C295C}" type="presParOf" srcId="{7520227C-45F0-4BCD-B5C8-55A31936BBDC}" destId="{492CC742-B5EF-4C52-9DD2-4E27B64FA404}" srcOrd="2" destOrd="0" presId="urn:microsoft.com/office/officeart/2005/8/layout/hierarchy3"/>
    <dgm:cxn modelId="{6B942FAF-E133-4386-9679-8CCD373C01BA}" type="presParOf" srcId="{7520227C-45F0-4BCD-B5C8-55A31936BBDC}" destId="{102038F0-C636-4200-A4F7-7E5BC99D3227}" srcOrd="3" destOrd="0" presId="urn:microsoft.com/office/officeart/2005/8/layout/hierarchy3"/>
    <dgm:cxn modelId="{E4771BED-F2FE-48B5-AFB1-E8710B772489}" type="presParOf" srcId="{7520227C-45F0-4BCD-B5C8-55A31936BBDC}" destId="{ABD4D5D7-0F11-4C80-A380-C0FE6878095B}" srcOrd="4" destOrd="0" presId="urn:microsoft.com/office/officeart/2005/8/layout/hierarchy3"/>
    <dgm:cxn modelId="{0AB01D54-2B5F-4E51-9AFA-AFACEAFAC111}" type="presParOf" srcId="{7520227C-45F0-4BCD-B5C8-55A31936BBDC}" destId="{A119F32E-E951-4031-9342-C1DBB391D7D7}" srcOrd="5" destOrd="0" presId="urn:microsoft.com/office/officeart/2005/8/layout/hierarchy3"/>
    <dgm:cxn modelId="{2F8F7CC8-7F6B-4239-B83F-4C338F8452FF}" type="presParOf" srcId="{7520227C-45F0-4BCD-B5C8-55A31936BBDC}" destId="{8579FCA0-EB77-4AD6-A3C9-4D81E6319383}" srcOrd="6" destOrd="0" presId="urn:microsoft.com/office/officeart/2005/8/layout/hierarchy3"/>
    <dgm:cxn modelId="{18F5CAC5-0A1D-4EC3-9D42-1CD6901453F5}" type="presParOf" srcId="{7520227C-45F0-4BCD-B5C8-55A31936BBDC}" destId="{9F9C1E21-BEBA-458A-9617-9D8A5C7827E0}" srcOrd="7" destOrd="0" presId="urn:microsoft.com/office/officeart/2005/8/layout/hierarchy3"/>
    <dgm:cxn modelId="{B553F675-EF55-4747-A4BC-2C9E7F9A9AED}" type="presParOf" srcId="{BF4A89ED-60B5-473C-8D5F-83068BD31865}" destId="{9F9D817A-09D1-4A02-A7CD-CC184F989959}" srcOrd="4" destOrd="0" presId="urn:microsoft.com/office/officeart/2005/8/layout/hierarchy3"/>
    <dgm:cxn modelId="{5016A2FC-FB22-42C1-8708-B68BD734C1B8}" type="presParOf" srcId="{9F9D817A-09D1-4A02-A7CD-CC184F989959}" destId="{1AAB17CD-098A-4DE2-94D8-0CCC7771FEB9}" srcOrd="0" destOrd="0" presId="urn:microsoft.com/office/officeart/2005/8/layout/hierarchy3"/>
    <dgm:cxn modelId="{68708F85-38EE-472A-AB8B-D9FF806B0415}" type="presParOf" srcId="{1AAB17CD-098A-4DE2-94D8-0CCC7771FEB9}" destId="{45B90801-11B2-41DD-B907-1A80172D9A21}" srcOrd="0" destOrd="0" presId="urn:microsoft.com/office/officeart/2005/8/layout/hierarchy3"/>
    <dgm:cxn modelId="{5B5468B1-B4D6-4F02-8E8F-5D7FAD6BDAC2}" type="presParOf" srcId="{1AAB17CD-098A-4DE2-94D8-0CCC7771FEB9}" destId="{8F768FA3-4FD6-4383-A155-1E44E0CD178D}" srcOrd="1" destOrd="0" presId="urn:microsoft.com/office/officeart/2005/8/layout/hierarchy3"/>
    <dgm:cxn modelId="{04922F12-203D-4D56-BEA0-666730206960}" type="presParOf" srcId="{9F9D817A-09D1-4A02-A7CD-CC184F989959}" destId="{7EA014CF-5896-4524-AEAF-FB53D0913F57}" srcOrd="1" destOrd="0" presId="urn:microsoft.com/office/officeart/2005/8/layout/hierarchy3"/>
    <dgm:cxn modelId="{A428126C-975D-4A65-B13F-2B0EF017D8A8}" type="presParOf" srcId="{7EA014CF-5896-4524-AEAF-FB53D0913F57}" destId="{82006022-B4BE-4F74-9B08-F189B3EE36BA}" srcOrd="0" destOrd="0" presId="urn:microsoft.com/office/officeart/2005/8/layout/hierarchy3"/>
    <dgm:cxn modelId="{33054DC1-84D1-4C6F-84F7-0C6E5EA940B1}" type="presParOf" srcId="{7EA014CF-5896-4524-AEAF-FB53D0913F57}" destId="{A9816D2E-DA70-4E00-878E-DC11CA2EF98E}" srcOrd="1" destOrd="0" presId="urn:microsoft.com/office/officeart/2005/8/layout/hierarchy3"/>
    <dgm:cxn modelId="{F833164C-2EA3-496F-A9BF-A56234871A08}" type="presParOf" srcId="{7EA014CF-5896-4524-AEAF-FB53D0913F57}" destId="{652F2104-2B98-4993-B60C-C4BEB6C3F9A4}" srcOrd="2" destOrd="0" presId="urn:microsoft.com/office/officeart/2005/8/layout/hierarchy3"/>
    <dgm:cxn modelId="{3EB661E2-4DC9-4A4F-8BB1-4479581D94AA}" type="presParOf" srcId="{7EA014CF-5896-4524-AEAF-FB53D0913F57}" destId="{F63EE71F-0796-4F9E-BA47-2F2E561A6BB2}" srcOrd="3" destOrd="0" presId="urn:microsoft.com/office/officeart/2005/8/layout/hierarchy3"/>
    <dgm:cxn modelId="{E6D90456-04A1-4219-8BEC-A9EFA0F1E9AD}" type="presParOf" srcId="{7EA014CF-5896-4524-AEAF-FB53D0913F57}" destId="{0CB32B0E-C8B7-47AD-B1EE-5C546744699B}" srcOrd="4" destOrd="0" presId="urn:microsoft.com/office/officeart/2005/8/layout/hierarchy3"/>
    <dgm:cxn modelId="{3AF429AB-CBBB-4E6E-A9E1-15AA30D4DEB9}" type="presParOf" srcId="{7EA014CF-5896-4524-AEAF-FB53D0913F57}" destId="{9E30D907-DE71-4F8F-A754-AD7B1CAA9355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5B3E96-510A-4CE8-A11B-31CBD2FA4C0D}" type="datetimeFigureOut">
              <a:rPr lang="en-US" smtClean="0"/>
              <a:pPr/>
              <a:t>7/22/2018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A12ED-F32A-47F0-AB5B-DA049A49CEC4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0634798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90656-425C-4BD6-8B59-937B71857D80}" type="datetimeFigureOut">
              <a:rPr lang="en-US" smtClean="0"/>
              <a:pPr/>
              <a:t>7/22/2018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EA3F3-7F60-4372-AD96-0BFBCD79137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3049129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4EA3F3-7F60-4372-AD96-0BFBCD79137E}" type="slidenum">
              <a:rPr lang="en-ZA" smtClean="0"/>
              <a:pPr/>
              <a:t>2</a:t>
            </a:fld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503E255-4AEF-4C54-9967-59FBF84C76AC}" type="datetime1">
              <a:rPr lang="en-US" smtClean="0"/>
              <a:pPr/>
              <a:t>7/22/2018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66760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992187-B1CC-41CC-9142-F099FCE9EC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2615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72462" y="5814889"/>
            <a:ext cx="928662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62401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717299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544436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32557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50127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13829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669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49798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2FEC2-7EC7-4463-95AC-78279F530748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F01DF-2035-4AA7-9B51-EC714CF2913B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74257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E97A-5442-4046-B604-C31852B2B863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37611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B4DB64-B0AC-4D73-8ECA-3193CAC9D7D1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960813-4A14-4F2E-8AA0-895FB1881A3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6925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0FCB2-711B-4F8B-B1BC-BBCD2D020EDA}" type="datetimeFigureOut">
              <a:rPr lang="en-GB" smtClean="0"/>
              <a:t>22/07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114E8-B070-4E09-A797-BC354735B3D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104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14038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72579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38535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9DE21-5DAA-4204-B423-28510684095B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72462" y="5814889"/>
            <a:ext cx="928662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B536FA-8F3B-496F-A698-87EBAB377DF5}" type="datetimeFigureOut">
              <a:rPr lang="en-ZA" smtClean="0"/>
              <a:t>2018/07/22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407C91-BA93-4869-9A98-B4EF52AEEC0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41407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411760" y="4797152"/>
            <a:ext cx="5791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3 </a:t>
            </a:r>
            <a:r>
              <a:rPr lang="en-US" sz="24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July </a:t>
            </a:r>
            <a:r>
              <a:rPr lang="en-US" sz="2400" b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018,  </a:t>
            </a:r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IAS 2018</a:t>
            </a:r>
            <a:endParaRPr lang="en-US" sz="24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07504" y="0"/>
            <a:ext cx="8784976" cy="1026840"/>
          </a:xfrm>
          <a:prstGeom prst="rect">
            <a:avLst/>
          </a:prstGeom>
        </p:spPr>
        <p:txBody>
          <a:bodyPr tIns="45720" rIns="91440" bIns="45720" anchor="b">
            <a:normAutofit fontScale="92500" lnSpcReduction="10000"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</a:rPr>
              <a:t>PrEP is not just a pill</a:t>
            </a:r>
            <a:r>
              <a:rPr lang="en-US" sz="3600" dirty="0">
                <a:solidFill>
                  <a:schemeClr val="bg1"/>
                </a:solidFill>
              </a:rPr>
              <a:t>, </a:t>
            </a:r>
            <a:r>
              <a:rPr lang="en-US" sz="3600" b="1" dirty="0">
                <a:solidFill>
                  <a:schemeClr val="bg1"/>
                </a:solidFill>
              </a:rPr>
              <a:t>but a comprehensive service for sex workers. </a:t>
            </a:r>
            <a:endParaRPr lang="en-ZA" sz="3600" b="1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C5E4DCD9-69EC-4BBF-A700-A0BCE6F6D88A}"/>
              </a:ext>
            </a:extLst>
          </p:cNvPr>
          <p:cNvSpPr/>
          <p:nvPr/>
        </p:nvSpPr>
        <p:spPr>
          <a:xfrm>
            <a:off x="2286000" y="2921169"/>
            <a:ext cx="631844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ogan</a:t>
            </a:r>
            <a:r>
              <a:rPr lang="en-US" sz="24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Pillay</a:t>
            </a:r>
          </a:p>
          <a:p>
            <a:pPr algn="ctr"/>
            <a:endParaRPr lang="en-US" sz="24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National Department of Health: South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frica</a:t>
            </a:r>
          </a:p>
          <a:p>
            <a:pPr algn="ctr"/>
            <a:endParaRPr lang="en-US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96388" y="260649"/>
            <a:ext cx="6567900" cy="720080"/>
          </a:xfrm>
        </p:spPr>
        <p:txBody>
          <a:bodyPr/>
          <a:lstStyle/>
          <a:p>
            <a:r>
              <a:rPr lang="en-ZA" dirty="0">
                <a:solidFill>
                  <a:schemeClr val="bg1"/>
                </a:solidFill>
              </a:rPr>
              <a:t>Implementation Proces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685800" y="2996952"/>
            <a:ext cx="7772400" cy="1656184"/>
          </a:xfrm>
        </p:spPr>
        <p:txBody>
          <a:bodyPr/>
          <a:lstStyle/>
          <a:p>
            <a:pPr algn="ctr"/>
            <a:r>
              <a:rPr lang="en-ZA" sz="3600" dirty="0"/>
              <a:t>Comprehensive Package of HIV Prevention &amp; Treatment Interventions</a:t>
            </a:r>
          </a:p>
          <a:p>
            <a:pPr algn="ctr"/>
            <a:endParaRPr lang="en-ZA" sz="4800" b="1" dirty="0">
              <a:solidFill>
                <a:schemeClr val="tx1"/>
              </a:solidFill>
            </a:endParaRPr>
          </a:p>
          <a:p>
            <a:pPr algn="ctr"/>
            <a:endParaRPr lang="en-ZA" sz="4800" b="1" dirty="0">
              <a:solidFill>
                <a:schemeClr val="tx1"/>
              </a:solidFill>
            </a:endParaRPr>
          </a:p>
          <a:p>
            <a:pPr algn="ctr"/>
            <a:endParaRPr lang="en-ZA" sz="4800" b="1" dirty="0">
              <a:solidFill>
                <a:schemeClr val="tx1"/>
              </a:solidFill>
            </a:endParaRPr>
          </a:p>
          <a:p>
            <a:pPr algn="ctr"/>
            <a:endParaRPr lang="en-ZA" sz="4800" b="1" dirty="0">
              <a:solidFill>
                <a:schemeClr val="tx1"/>
              </a:solidFill>
            </a:endParaRPr>
          </a:p>
          <a:p>
            <a:pPr algn="ctr"/>
            <a:endParaRPr lang="en-ZA" sz="4800" b="1" dirty="0">
              <a:solidFill>
                <a:schemeClr val="tx1"/>
              </a:solidFill>
            </a:endParaRPr>
          </a:p>
          <a:p>
            <a:pPr algn="ctr"/>
            <a:endParaRPr lang="en-ZA" sz="4800" b="1" dirty="0">
              <a:solidFill>
                <a:schemeClr val="tx1"/>
              </a:solidFill>
            </a:endParaRPr>
          </a:p>
          <a:p>
            <a:pPr algn="ctr"/>
            <a:r>
              <a:rPr lang="en-ZA" sz="4800" b="1" dirty="0">
                <a:solidFill>
                  <a:schemeClr val="tx1"/>
                </a:solidFill>
              </a:rPr>
              <a:t>Package of Interventions Sex Workers </a:t>
            </a:r>
            <a:r>
              <a:rPr lang="en-ZA" sz="4400" dirty="0">
                <a:solidFill>
                  <a:schemeClr val="tx1"/>
                </a:solidFill>
              </a:rPr>
              <a:t/>
            </a:r>
            <a:br>
              <a:rPr lang="en-ZA" sz="4400" dirty="0">
                <a:solidFill>
                  <a:schemeClr val="tx1"/>
                </a:solidFill>
              </a:rPr>
            </a:br>
            <a:r>
              <a:rPr lang="en-ZA" sz="3600" dirty="0">
                <a:solidFill>
                  <a:schemeClr val="tx1"/>
                </a:solidFill>
              </a:rPr>
              <a:t>Designated Services In Partnership -NGO, Government &amp; Donors  </a:t>
            </a:r>
            <a:br>
              <a:rPr lang="en-ZA" sz="3600" dirty="0">
                <a:solidFill>
                  <a:schemeClr val="tx1"/>
                </a:solidFill>
              </a:rPr>
            </a:br>
            <a:r>
              <a:rPr lang="en-ZA" sz="3600" dirty="0">
                <a:solidFill>
                  <a:schemeClr val="tx1"/>
                </a:solidFill>
              </a:rPr>
              <a:t>(fixed, mobile, outreach)</a:t>
            </a:r>
          </a:p>
        </p:txBody>
      </p:sp>
    </p:spTree>
    <p:extLst>
      <p:ext uri="{BB962C8B-B14F-4D97-AF65-F5344CB8AC3E}">
        <p14:creationId xmlns:p14="http://schemas.microsoft.com/office/powerpoint/2010/main" val="8015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1" y="136525"/>
            <a:ext cx="6984777" cy="844203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ZA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mplementation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0" y="1196752"/>
            <a:ext cx="8856985" cy="4824536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ZA" sz="2400" b="1" dirty="0"/>
              <a:t>Audit of potential service delivery sites</a:t>
            </a:r>
          </a:p>
          <a:p>
            <a:pPr marL="0" indent="0">
              <a:lnSpc>
                <a:spcPct val="90000"/>
              </a:lnSpc>
              <a:buNone/>
            </a:pPr>
            <a:endParaRPr lang="en-ZA" sz="2400" b="1" dirty="0"/>
          </a:p>
          <a:p>
            <a:pPr marL="0" indent="0">
              <a:lnSpc>
                <a:spcPct val="90000"/>
              </a:lnSpc>
              <a:buNone/>
            </a:pPr>
            <a:r>
              <a:rPr lang="en-ZA" sz="2400" b="1" dirty="0"/>
              <a:t>National level support provided for PrEP implementation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Training 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Clinicians (NIMMART trained nurses)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Lay Counsellors (Testing)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Peer educators (Education &amp; social mobilisation)</a:t>
            </a:r>
          </a:p>
          <a:p>
            <a:pPr lvl="4">
              <a:lnSpc>
                <a:spcPct val="90000"/>
              </a:lnSpc>
            </a:pPr>
            <a:r>
              <a:rPr lang="en-ZA" sz="2400" dirty="0"/>
              <a:t>M &amp; E officers (Data management)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Monitoring &amp; evaluation 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IEC and promotional material</a:t>
            </a:r>
          </a:p>
          <a:p>
            <a:pPr lvl="2">
              <a:lnSpc>
                <a:spcPct val="90000"/>
              </a:lnSpc>
            </a:pPr>
            <a:r>
              <a:rPr lang="en-ZA" b="1" dirty="0"/>
              <a:t>PrEP drugs procured and distributed centrally</a:t>
            </a:r>
          </a:p>
          <a:p>
            <a:pPr marL="342900" lvl="1" indent="0">
              <a:lnSpc>
                <a:spcPct val="90000"/>
              </a:lnSpc>
              <a:buNone/>
            </a:pPr>
            <a:endParaRPr lang="en-ZA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defRPr/>
            </a:pPr>
            <a:fld id="{D1FC17A9-1053-4EE0-8A3E-150254159B86}" type="slidenum">
              <a:rPr lang="en-US" sz="1000">
                <a:solidFill>
                  <a:prstClr val="black">
                    <a:tint val="75000"/>
                  </a:prstClr>
                </a:solidFill>
              </a:rPr>
              <a:pPr>
                <a:spcAft>
                  <a:spcPts val="600"/>
                </a:spcAft>
                <a:defRPr/>
              </a:pPr>
              <a:t>11</a:t>
            </a:fld>
            <a:endParaRPr lang="en-US" sz="10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9264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62256" cy="105273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algn="l"/>
            <a:r>
              <a:rPr lang="en-ZA" sz="3600" b="1" dirty="0">
                <a:solidFill>
                  <a:schemeClr val="bg1"/>
                </a:solidFill>
              </a:rPr>
              <a:t>Package of Interventions Sex Workers </a:t>
            </a:r>
            <a:r>
              <a:rPr lang="en-ZA" sz="3100" dirty="0">
                <a:solidFill>
                  <a:schemeClr val="bg1"/>
                </a:solidFill>
              </a:rPr>
              <a:t/>
            </a:r>
            <a:br>
              <a:rPr lang="en-ZA" sz="3100" dirty="0">
                <a:solidFill>
                  <a:schemeClr val="bg1"/>
                </a:solidFill>
              </a:rPr>
            </a:br>
            <a:r>
              <a:rPr lang="en-ZA" sz="2200" dirty="0">
                <a:solidFill>
                  <a:schemeClr val="bg1"/>
                </a:solidFill>
              </a:rPr>
              <a:t>Designated Services In Partnership -NGO, Government &amp; Donors  </a:t>
            </a:r>
            <a:br>
              <a:rPr lang="en-ZA" sz="2200" dirty="0">
                <a:solidFill>
                  <a:schemeClr val="bg1"/>
                </a:solidFill>
              </a:rPr>
            </a:br>
            <a:r>
              <a:rPr lang="en-ZA" sz="2200" dirty="0">
                <a:solidFill>
                  <a:schemeClr val="bg1"/>
                </a:solidFill>
              </a:rPr>
              <a:t>(fixed, mobile, outreach)</a:t>
            </a:r>
            <a:endParaRPr lang="en-ZA" dirty="0">
              <a:solidFill>
                <a:schemeClr val="bg1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4196428"/>
              </p:ext>
            </p:extLst>
          </p:nvPr>
        </p:nvGraphicFramePr>
        <p:xfrm>
          <a:off x="107504" y="980728"/>
          <a:ext cx="9001000" cy="5760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3588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-50800"/>
            <a:ext cx="9144000" cy="932542"/>
          </a:xfrm>
          <a:solidFill>
            <a:srgbClr val="005C28"/>
          </a:solidFill>
        </p:spPr>
        <p:txBody>
          <a:bodyPr>
            <a:normAutofit fontScale="90000"/>
          </a:bodyPr>
          <a:lstStyle/>
          <a:p>
            <a:pPr algn="l"/>
            <a:r>
              <a:rPr lang="en-US" sz="36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nitiations</a:t>
            </a:r>
            <a:br>
              <a:rPr lang="en-US" sz="36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27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une 2016 – </a:t>
            </a:r>
            <a:r>
              <a:rPr lang="en-US" sz="2700" b="1" dirty="0">
                <a:latin typeface="Calibri" panose="020F0502020204030204" pitchFamily="34" charset="0"/>
                <a:cs typeface="Arial" panose="020B0604020202020204" pitchFamily="34" charset="0"/>
              </a:rPr>
              <a:t>May</a:t>
            </a:r>
            <a:r>
              <a:rPr lang="en-US" sz="27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2018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31489" y="980660"/>
            <a:ext cx="1925911" cy="294044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Fro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June 2016 –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700" noProof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ay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2018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700" b="1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5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</a:t>
            </a:r>
            <a:r>
              <a:rPr lang="en-US" sz="1700" b="1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857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initiat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Took place a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700" b="1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34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SITE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across South Africa</a:t>
            </a: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180044" y="4101662"/>
            <a:ext cx="18288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132374" y="4282220"/>
            <a:ext cx="2351392" cy="24183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Ins="182880" rtlCol="0" anchor="t"/>
          <a:lstStyle/>
          <a:p>
            <a:pPr marL="0" marR="0" lvl="4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Provincial coverage includes: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Arial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GAUTENG 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FREE STATE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EASTERN CAPE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KWAZULU-NATAL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LIMPOPO MPUMALANGA NORTHERN CAPE 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WESTERN CAP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235793" y="939800"/>
            <a:ext cx="0" cy="576072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8012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F78AA-DC23-40C8-BD3F-A1A08EA63BFB}" type="slidenum">
              <a:rPr kumimoji="0" lang="en-ZA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8012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46108" y="6112786"/>
            <a:ext cx="4682276" cy="4845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Oral </a:t>
            </a:r>
            <a:r>
              <a:rPr kumimoji="0" lang="en-ZA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PrEP</a:t>
            </a: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initiations by provi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June 2016 – </a:t>
            </a:r>
            <a:r>
              <a:rPr lang="en-ZA" sz="1400" i="1" noProof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ay</a:t>
            </a:r>
            <a:r>
              <a:rPr kumimoji="0" lang="en-ZA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</a:rPr>
              <a:t> 2018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2" r="6887"/>
          <a:stretch/>
        </p:blipFill>
        <p:spPr>
          <a:xfrm>
            <a:off x="2299031" y="1028041"/>
            <a:ext cx="6776429" cy="4694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3575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42" y="1080003"/>
            <a:ext cx="8890781" cy="566043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95" r="2424" b="6540"/>
          <a:stretch/>
        </p:blipFill>
        <p:spPr>
          <a:xfrm>
            <a:off x="6732240" y="1136957"/>
            <a:ext cx="1821806" cy="3048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81118B16-29DD-4662-B8E4-ADDC48AEB81E}"/>
              </a:ext>
            </a:extLst>
          </p:cNvPr>
          <p:cNvSpPr/>
          <p:nvPr/>
        </p:nvSpPr>
        <p:spPr>
          <a:xfrm>
            <a:off x="43092" y="42118"/>
            <a:ext cx="8510954" cy="960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3200" b="1" kern="0" dirty="0">
                <a:solidFill>
                  <a:schemeClr val="bg1"/>
                </a:solidFill>
                <a:cs typeface="Arial" panose="020B0604020202020204" pitchFamily="34" charset="0"/>
              </a:rPr>
              <a:t>Oral PrEP Implementation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2400" b="1" kern="0" dirty="0">
                <a:solidFill>
                  <a:schemeClr val="bg1"/>
                </a:solidFill>
                <a:cs typeface="Arial" panose="020B0604020202020204" pitchFamily="34" charset="0"/>
              </a:rPr>
              <a:t>Oral PrEP and ART commencements at Sex Worker sites</a:t>
            </a:r>
          </a:p>
        </p:txBody>
      </p:sp>
    </p:spTree>
    <p:extLst>
      <p:ext uri="{BB962C8B-B14F-4D97-AF65-F5344CB8AC3E}">
        <p14:creationId xmlns:p14="http://schemas.microsoft.com/office/powerpoint/2010/main" val="61580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0" y="0"/>
            <a:ext cx="9144000" cy="903288"/>
          </a:xfrm>
          <a:prstGeom prst="rect">
            <a:avLst/>
          </a:prstGeom>
          <a:solidFill>
            <a:srgbClr val="005C28"/>
          </a:solidFill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Oral </a:t>
            </a:r>
            <a:r>
              <a:rPr kumimoji="0" lang="en-ZA" sz="3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PrEP</a:t>
            </a:r>
            <a:r>
              <a:rPr kumimoji="0" lang="en-ZA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 </a:t>
            </a:r>
            <a:r>
              <a:rPr kumimoji="0" lang="en-ZA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Implementation: testing </a:t>
            </a:r>
            <a:r>
              <a:rPr lang="en-ZA" b="1" kern="0" dirty="0" smtClean="0">
                <a:solidFill>
                  <a:prstClr val="white"/>
                </a:solidFill>
                <a:latin typeface="Calibri"/>
                <a:cs typeface="Arial" panose="020B0604020202020204" pitchFamily="34" charset="0"/>
              </a:rPr>
              <a:t>to</a:t>
            </a:r>
            <a:r>
              <a:rPr kumimoji="0" lang="en-ZA" sz="3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Arial" panose="020B0604020202020204" pitchFamily="34" charset="0"/>
              </a:rPr>
              <a:t> initiation</a:t>
            </a:r>
            <a:endParaRPr kumimoji="0" lang="en-ZA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67544" y="1772816"/>
            <a:ext cx="8047806" cy="3312368"/>
            <a:chOff x="547354" y="244997"/>
            <a:chExt cx="8047806" cy="3372364"/>
          </a:xfrm>
        </p:grpSpPr>
        <p:sp>
          <p:nvSpPr>
            <p:cNvPr id="144" name="TextBox 143"/>
            <p:cNvSpPr txBox="1"/>
            <p:nvPr/>
          </p:nvSpPr>
          <p:spPr>
            <a:xfrm>
              <a:off x="5736871" y="1788633"/>
              <a:ext cx="119837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 666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1%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145" name="Rectangle 144"/>
            <p:cNvSpPr/>
            <p:nvPr/>
          </p:nvSpPr>
          <p:spPr bwMode="auto">
            <a:xfrm>
              <a:off x="5660456" y="2070700"/>
              <a:ext cx="1274794" cy="2063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ART initiations</a:t>
              </a:r>
            </a:p>
          </p:txBody>
        </p:sp>
        <p:sp>
          <p:nvSpPr>
            <p:cNvPr id="139" name="Right Arrow 138"/>
            <p:cNvSpPr/>
            <p:nvPr/>
          </p:nvSpPr>
          <p:spPr>
            <a:xfrm rot="1134949">
              <a:off x="3673527" y="1823220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Right Arrow 137"/>
            <p:cNvSpPr/>
            <p:nvPr/>
          </p:nvSpPr>
          <p:spPr>
            <a:xfrm>
              <a:off x="2189130" y="1592833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Right Arrow 145"/>
            <p:cNvSpPr/>
            <p:nvPr/>
          </p:nvSpPr>
          <p:spPr>
            <a:xfrm>
              <a:off x="5264837" y="1916327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Right Arrow 146"/>
            <p:cNvSpPr/>
            <p:nvPr/>
          </p:nvSpPr>
          <p:spPr>
            <a:xfrm>
              <a:off x="5264837" y="1268254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Right Arrow 147"/>
            <p:cNvSpPr/>
            <p:nvPr/>
          </p:nvSpPr>
          <p:spPr>
            <a:xfrm>
              <a:off x="6908701" y="1268255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Right Arrow 139"/>
            <p:cNvSpPr/>
            <p:nvPr/>
          </p:nvSpPr>
          <p:spPr>
            <a:xfrm rot="20051190">
              <a:off x="3676184" y="1424366"/>
              <a:ext cx="381000" cy="204529"/>
            </a:xfrm>
            <a:prstGeom prst="rightArrow">
              <a:avLst/>
            </a:prstGeom>
            <a:solidFill>
              <a:srgbClr val="006D31"/>
            </a:solidFill>
            <a:ln>
              <a:solidFill>
                <a:srgbClr val="006D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016493" y="1124744"/>
              <a:ext cx="1275587" cy="3446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9 352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87%)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309237" y="1124744"/>
              <a:ext cx="119837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 109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3%)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4066092" y="1412776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Neg. HIV tests</a:t>
              </a: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7232821" y="1412776"/>
              <a:ext cx="1274794" cy="18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rEP initiations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660763" y="1124744"/>
              <a:ext cx="127735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2 537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66%)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5713880" y="1412776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# offered PrEP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55576" y="1340768"/>
              <a:ext cx="152400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June 2016 –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y 2018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W sites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547354" y="244997"/>
              <a:ext cx="8047806" cy="3372364"/>
            </a:xfrm>
            <a:prstGeom prst="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MS PGothic" pitchFamily="34" charset="-128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620250" y="1356516"/>
              <a:ext cx="936104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6 475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" name="Rectangle 1"/>
            <p:cNvSpPr/>
            <p:nvPr/>
          </p:nvSpPr>
          <p:spPr bwMode="auto">
            <a:xfrm>
              <a:off x="2488227" y="1604824"/>
              <a:ext cx="1200150" cy="240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Total HIV tests conducted at implementing  SW sites</a:t>
              </a: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4016493" y="1772817"/>
              <a:ext cx="1198379" cy="3446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 123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13%)</a:t>
              </a:r>
            </a:p>
          </p:txBody>
        </p:sp>
        <p:sp>
          <p:nvSpPr>
            <p:cNvPr id="143" name="Rectangle 142"/>
            <p:cNvSpPr/>
            <p:nvPr/>
          </p:nvSpPr>
          <p:spPr bwMode="auto">
            <a:xfrm>
              <a:off x="4067944" y="2067182"/>
              <a:ext cx="1198379" cy="20969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MS PGothic" pitchFamily="34" charset="-128"/>
                </a:rPr>
                <a:t>Pos. HIV tests</a:t>
              </a:r>
            </a:p>
          </p:txBody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938C8F-0CEE-4393-9C50-C360D5843A43}" type="slidenum">
              <a:rPr kumimoji="0" lang="en-ZA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629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chemeClr val="bg1"/>
                </a:solidFill>
              </a:rPr>
              <a:t>										PrEP unit cost (2017 ZAR) </a:t>
            </a:r>
            <a:r>
              <a:rPr lang="en-ZA" sz="3600" dirty="0">
                <a:solidFill>
                  <a:schemeClr val="bg1"/>
                </a:solidFill>
              </a:rPr>
              <a:t/>
            </a:r>
            <a:br>
              <a:rPr lang="en-ZA" sz="3600" dirty="0">
                <a:solidFill>
                  <a:schemeClr val="bg1"/>
                </a:solidFill>
              </a:rPr>
            </a:br>
            <a:endParaRPr lang="en-ZA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04041"/>
              </p:ext>
            </p:extLst>
          </p:nvPr>
        </p:nvGraphicFramePr>
        <p:xfrm>
          <a:off x="133347" y="1676400"/>
          <a:ext cx="8883650" cy="1776378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2487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7248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7643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 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Young women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(20-24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Female adolescents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(15-19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FSW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Young 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Men</a:t>
                      </a:r>
                    </a:p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(20-24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Male adolescents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2000" u="none" strike="noStrike" dirty="0">
                          <a:effectLst/>
                        </a:rPr>
                        <a:t>(15-19)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MSM</a:t>
                      </a:r>
                      <a:endParaRPr lang="en-ZA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098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First year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18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15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39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00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900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890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098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Follow-up</a:t>
                      </a:r>
                      <a:endParaRPr lang="en-ZA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47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47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37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31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31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u="none" strike="noStrike" dirty="0">
                          <a:effectLst/>
                        </a:rPr>
                        <a:t>1,621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3" name="Content Placeholder 2">
            <a:extLst>
              <a:ext uri="{FF2B5EF4-FFF2-40B4-BE49-F238E27FC236}">
                <a16:creationId xmlns:a16="http://schemas.microsoft.com/office/drawing/2014/main" xmlns="" id="{7F4E2974-CC66-8643-8FEF-5653627C4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823" y="3607528"/>
            <a:ext cx="8343902" cy="5032375"/>
          </a:xfrm>
        </p:spPr>
        <p:txBody>
          <a:bodyPr>
            <a:normAutofit/>
          </a:bodyPr>
          <a:lstStyle/>
          <a:p>
            <a:r>
              <a:rPr lang="en-GB" sz="2400" dirty="0"/>
              <a:t>PrEP cost per patient year is R1,621-R1,939</a:t>
            </a:r>
          </a:p>
          <a:p>
            <a:r>
              <a:rPr lang="en-GB" sz="2400" dirty="0"/>
              <a:t>Cost varies between populations by ~6% and between first and follow-up years ~16%</a:t>
            </a:r>
          </a:p>
        </p:txBody>
      </p:sp>
    </p:spTree>
    <p:extLst>
      <p:ext uri="{BB962C8B-B14F-4D97-AF65-F5344CB8AC3E}">
        <p14:creationId xmlns:p14="http://schemas.microsoft.com/office/powerpoint/2010/main" val="116021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l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mplementation for</a:t>
            </a:r>
            <a:b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ey and Vulnerable Populations</a:t>
            </a:r>
            <a:endParaRPr lang="en-US" sz="32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874CE-5934-4E43-9E15-88C8F3203F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4910" y="2271007"/>
            <a:ext cx="2147550" cy="2310122"/>
          </a:xfrm>
          <a:prstGeom prst="rect">
            <a:avLst/>
          </a:prstGeom>
          <a:solidFill>
            <a:srgbClr val="0C4A02"/>
          </a:solidFill>
          <a:ln>
            <a:solidFill>
              <a:srgbClr val="006D3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sons learned</a:t>
            </a:r>
            <a:endParaRPr kumimoji="0" lang="en-ZA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58201" y="1216855"/>
            <a:ext cx="5867400" cy="5562600"/>
          </a:xfrm>
          <a:prstGeom prst="rect">
            <a:avLst/>
          </a:prstGeom>
          <a:noFill/>
          <a:ln>
            <a:solidFill>
              <a:srgbClr val="006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al PrEP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ts easily into combination prevention and SRH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ZA" dirty="0">
                <a:solidFill>
                  <a:prstClr val="black"/>
                </a:solidFill>
                <a:latin typeface="Calibri"/>
              </a:rPr>
              <a:t>services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n-judgemental, non-stigmatising attitudes 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om clinic staff members is critical, especially for adolescents and young peop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reach is key in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ing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arget population, and equally important for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llow-u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take of Mobile services is higher than fixed clin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exibility in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 hours 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eatly increases uptak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er-led programmes 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ult in higher demand creation and uptak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r, regular communication 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 importa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cial attention to client needs in first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 days of </a:t>
            </a:r>
            <a:r>
              <a:rPr kumimoji="0" lang="en-ZA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P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se is critical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de effec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dirty="0">
                <a:solidFill>
                  <a:prstClr val="black"/>
                </a:solidFill>
                <a:latin typeface="Calibri"/>
              </a:rPr>
              <a:t>A</a:t>
            </a:r>
            <a:r>
              <a:rPr kumimoji="0" lang="en-ZA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herence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dirty="0">
                <a:solidFill>
                  <a:prstClr val="black"/>
                </a:solidFill>
                <a:latin typeface="Calibri"/>
              </a:rPr>
              <a:t>P</a:t>
            </a:r>
            <a:r>
              <a:rPr kumimoji="0" lang="en-ZA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chosocial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uppor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1605556" y="3234702"/>
            <a:ext cx="2239887" cy="475488"/>
          </a:xfrm>
          <a:prstGeom prst="triangle">
            <a:avLst/>
          </a:prstGeom>
          <a:solidFill>
            <a:srgbClr val="0C4A02"/>
          </a:solidFill>
          <a:ln>
            <a:solidFill>
              <a:srgbClr val="005C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2285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l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mplementation for</a:t>
            </a:r>
            <a:b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ey and Vulnerable Populations</a:t>
            </a:r>
            <a:endParaRPr lang="en-US" sz="32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874CE-5934-4E43-9E15-88C8F3203F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4910" y="2271007"/>
            <a:ext cx="2147550" cy="2310122"/>
          </a:xfrm>
          <a:prstGeom prst="rect">
            <a:avLst/>
          </a:prstGeom>
          <a:solidFill>
            <a:srgbClr val="0C4A02"/>
          </a:solidFill>
          <a:ln>
            <a:solidFill>
              <a:srgbClr val="006D3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sons learned</a:t>
            </a:r>
            <a:endParaRPr kumimoji="0" lang="en-ZA" sz="2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58201" y="1216855"/>
            <a:ext cx="5867400" cy="5562600"/>
          </a:xfrm>
          <a:prstGeom prst="rect">
            <a:avLst/>
          </a:prstGeom>
          <a:noFill/>
          <a:ln>
            <a:solidFill>
              <a:srgbClr val="006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sosceles Triangle 5"/>
          <p:cNvSpPr/>
          <p:nvPr/>
        </p:nvSpPr>
        <p:spPr>
          <a:xfrm rot="5400000">
            <a:off x="1605556" y="3234702"/>
            <a:ext cx="2239887" cy="475488"/>
          </a:xfrm>
          <a:prstGeom prst="triangle">
            <a:avLst/>
          </a:prstGeom>
          <a:solidFill>
            <a:srgbClr val="0C4A02"/>
          </a:solidFill>
          <a:ln>
            <a:solidFill>
              <a:srgbClr val="005C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4F22E4E-0DF4-4C15-B93E-747A4005085A}"/>
              </a:ext>
            </a:extLst>
          </p:cNvPr>
          <p:cNvSpPr/>
          <p:nvPr/>
        </p:nvSpPr>
        <p:spPr>
          <a:xfrm>
            <a:off x="3108539" y="1249301"/>
            <a:ext cx="5817062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A professional nurse trained to initiate ART  and deliver sexual reproductive health services, a counsellor and  a peer educator are the basic staff requir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Expansion of PrEP to public facilities will require special attention to staff attitudes and responsiveness to key and vulnerable populat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Support for retention on PrEP and ART especially side-effect management is critica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ZA" sz="2400" dirty="0"/>
              <a:t>Tracking and tracing clients who fail to return requires special attention </a:t>
            </a:r>
          </a:p>
        </p:txBody>
      </p:sp>
    </p:spTree>
    <p:extLst>
      <p:ext uri="{BB962C8B-B14F-4D97-AF65-F5344CB8AC3E}">
        <p14:creationId xmlns:p14="http://schemas.microsoft.com/office/powerpoint/2010/main" val="31834979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solidFill>
            <a:schemeClr val="tx2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 algn="l"/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ral PrEP Implementation for</a:t>
            </a:r>
            <a:b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ey and Vulnerable Populations</a:t>
            </a:r>
            <a:endParaRPr lang="en-US" sz="32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874CE-5934-4E43-9E15-88C8F3203F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4910" y="2204864"/>
            <a:ext cx="2147550" cy="2310122"/>
          </a:xfrm>
          <a:prstGeom prst="rect">
            <a:avLst/>
          </a:prstGeom>
          <a:solidFill>
            <a:srgbClr val="0C4A02"/>
          </a:solidFill>
          <a:ln>
            <a:solidFill>
              <a:srgbClr val="006D3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llenges</a:t>
            </a:r>
          </a:p>
        </p:txBody>
      </p:sp>
      <p:sp>
        <p:nvSpPr>
          <p:cNvPr id="5" name="Rectangle 4"/>
          <p:cNvSpPr/>
          <p:nvPr/>
        </p:nvSpPr>
        <p:spPr>
          <a:xfrm>
            <a:off x="3081690" y="1124745"/>
            <a:ext cx="5867400" cy="5112568"/>
          </a:xfrm>
          <a:prstGeom prst="rect">
            <a:avLst/>
          </a:prstGeom>
          <a:noFill/>
          <a:ln>
            <a:solidFill>
              <a:srgbClr val="006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Wingdings" panose="05000000000000000000" pitchFamily="2" charset="2"/>
              <a:buChar char="Ø"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PrEP can only be delivered from a health facility that meets the regulatory criteria to keep and </a:t>
            </a:r>
            <a:r>
              <a:rPr lang="en-ZA" sz="2000" dirty="0">
                <a:solidFill>
                  <a:prstClr val="black"/>
                </a:solidFill>
              </a:rPr>
              <a:t>dispense scheduled medication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Making PrEP available to key and vulnerable populations  who already have limited access to health service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ZA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mited number of health facilities that are sensitive to the needs of key</a:t>
            </a:r>
            <a:r>
              <a:rPr lang="en-ZA" sz="2000" dirty="0">
                <a:solidFill>
                  <a:prstClr val="black"/>
                </a:solidFill>
                <a:latin typeface="Calibri"/>
              </a:rPr>
              <a:t> populations and adolescents and youth</a:t>
            </a:r>
            <a:endParaRPr kumimoji="0" lang="en-ZA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ZA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moting and marketing a new HIV prevention intervention amongst sex workers and </a:t>
            </a:r>
            <a:r>
              <a:rPr lang="en-ZA" sz="2000" dirty="0">
                <a:solidFill>
                  <a:prstClr val="black"/>
                </a:solidFill>
                <a:latin typeface="Calibri"/>
              </a:rPr>
              <a:t>transgender who already feel marginalised and discriminated agains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The experience of side effects from PrEP drug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alibri"/>
              </a:rPr>
              <a:t>Low uptake and retention of PrEP amongst sex workers</a:t>
            </a:r>
          </a:p>
        </p:txBody>
      </p:sp>
      <p:sp>
        <p:nvSpPr>
          <p:cNvPr id="6" name="Isosceles Triangle 5"/>
          <p:cNvSpPr/>
          <p:nvPr/>
        </p:nvSpPr>
        <p:spPr>
          <a:xfrm rot="5400000">
            <a:off x="1605556" y="3234702"/>
            <a:ext cx="2239887" cy="475488"/>
          </a:xfrm>
          <a:prstGeom prst="triangle">
            <a:avLst/>
          </a:prstGeom>
          <a:solidFill>
            <a:srgbClr val="0C4A02"/>
          </a:solidFill>
          <a:ln>
            <a:solidFill>
              <a:srgbClr val="005C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1090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07" y="1449534"/>
            <a:ext cx="8820472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lvl="0" indent="-571500">
              <a:buFont typeface="Wingdings" panose="05000000000000000000" pitchFamily="2" charset="2"/>
              <a:buChar char="Ø"/>
            </a:pPr>
            <a:r>
              <a:rPr lang="en-US" sz="3200" b="1" dirty="0">
                <a:solidFill>
                  <a:srgbClr val="0C4A02"/>
                </a:solidFill>
                <a:latin typeface="Arial" panose="020B0604020202020204" pitchFamily="34" charset="0"/>
                <a:ea typeface="Gill Sans" charset="0"/>
                <a:cs typeface="Arial" panose="020B0604020202020204" pitchFamily="34" charset="0"/>
              </a:rPr>
              <a:t>Universal Test and Treatment (UTT): </a:t>
            </a:r>
          </a:p>
          <a:p>
            <a:pPr lvl="2"/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ART should be initiated in everyone living with HIV regardless of their CD4 cell count.</a:t>
            </a:r>
          </a:p>
          <a:p>
            <a:pPr lvl="2"/>
            <a:endParaRPr lang="en-ZA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lvl="0" indent="-571500">
              <a:buFont typeface="Wingdings" panose="05000000000000000000" pitchFamily="2" charset="2"/>
              <a:buChar char="Ø"/>
            </a:pPr>
            <a:r>
              <a:rPr lang="en-US" sz="3200" b="1" dirty="0">
                <a:solidFill>
                  <a:srgbClr val="0C4A02"/>
                </a:solidFill>
                <a:latin typeface="Arial" panose="020B0604020202020204" pitchFamily="34" charset="0"/>
                <a:ea typeface="Gill Sans" charset="0"/>
                <a:cs typeface="Arial" panose="020B0604020202020204" pitchFamily="34" charset="0"/>
              </a:rPr>
              <a:t>Pre-Exposure Prophylaxis (PrEP): </a:t>
            </a:r>
          </a:p>
          <a:p>
            <a:pPr lvl="2"/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People with a substantial risk of HIV infection should be provided with daily PrEP as part of a combined HIV prevention strategy. </a:t>
            </a:r>
            <a:endParaRPr lang="en-ZA" sz="3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19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762000" y="0"/>
            <a:ext cx="5562600" cy="990600"/>
          </a:xfrm>
          <a:prstGeom prst="rect">
            <a:avLst/>
          </a:prstGeom>
        </p:spPr>
        <p:txBody>
          <a:bodyPr tIns="45720" rIns="91440" bIns="45720" anchor="b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GB" sz="4000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WHO GUIDANCE 2015 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64" y="5786454"/>
            <a:ext cx="1571636" cy="10715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D02F79F-7E84-4C84-8FD8-9F9B16EEAA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                                                   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665B12B-1C55-4940-B9AB-27EDC04FE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E392169-FE02-41A3-A012-560A730D9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20</a:t>
            </a:fld>
            <a:endParaRPr lang="en-ZA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1218258-835B-4AA4-99AF-7A866D7D0199}"/>
              </a:ext>
            </a:extLst>
          </p:cNvPr>
          <p:cNvSpPr txBox="1"/>
          <p:nvPr/>
        </p:nvSpPr>
        <p:spPr>
          <a:xfrm>
            <a:off x="1763688" y="2924944"/>
            <a:ext cx="64807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4800" dirty="0" smtClean="0"/>
              <a:t>Thank you!</a:t>
            </a:r>
            <a:endParaRPr lang="en-ZA" sz="4800" dirty="0"/>
          </a:p>
        </p:txBody>
      </p:sp>
    </p:spTree>
    <p:extLst>
      <p:ext uri="{BB962C8B-B14F-4D97-AF65-F5344CB8AC3E}">
        <p14:creationId xmlns:p14="http://schemas.microsoft.com/office/powerpoint/2010/main" val="4134315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AA867BE0-747A-4025-92E5-58D0A2456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0444467"/>
              </p:ext>
            </p:extLst>
          </p:nvPr>
        </p:nvGraphicFramePr>
        <p:xfrm>
          <a:off x="179512" y="1196752"/>
          <a:ext cx="8784976" cy="5167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79501DDF-A46F-4870-B4E3-5A507BDF604B}"/>
              </a:ext>
            </a:extLst>
          </p:cNvPr>
          <p:cNvSpPr/>
          <p:nvPr/>
        </p:nvSpPr>
        <p:spPr>
          <a:xfrm>
            <a:off x="0" y="0"/>
            <a:ext cx="7416824" cy="1055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</a:rPr>
              <a:t>Oral PrEP and UTT guidelines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</a:rPr>
              <a:t>From policy to phased implementation </a:t>
            </a:r>
          </a:p>
        </p:txBody>
      </p:sp>
    </p:spTree>
    <p:extLst>
      <p:ext uri="{BB962C8B-B14F-4D97-AF65-F5344CB8AC3E}">
        <p14:creationId xmlns:p14="http://schemas.microsoft.com/office/powerpoint/2010/main" val="3351153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677" y="1205541"/>
            <a:ext cx="8964488" cy="5616624"/>
          </a:xfrm>
        </p:spPr>
        <p:txBody>
          <a:bodyPr>
            <a:normAutofit/>
          </a:bodyPr>
          <a:lstStyle/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rEP offered as an </a:t>
            </a:r>
            <a:r>
              <a:rPr lang="en-GB" altLang="en-US" sz="2800" dirty="0" smtClean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ddition </a:t>
            </a:r>
            <a:r>
              <a:rPr lang="en-GB" altLang="en-US" sz="28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in the context of </a:t>
            </a:r>
            <a:r>
              <a:rPr lang="en-GB" altLang="en-US" sz="2800" b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combination prevention</a:t>
            </a:r>
            <a:endParaRPr lang="en-ZA" altLang="en-US" sz="2400" b="1" dirty="0"/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 access to health services including HIV treatment</a:t>
            </a:r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e </a:t>
            </a:r>
            <a:r>
              <a:rPr lang="en-GB" altLang="en-US" sz="28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rEP and T&amp;T into HIV prevention programmes, policies, and services</a:t>
            </a:r>
            <a:endParaRPr lang="en-ZA" altLang="en-US" sz="2800" dirty="0"/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vide </a:t>
            </a: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P and T&amp;T within the broader framework of quality health service provision</a:t>
            </a:r>
            <a:endParaRPr lang="en-ZA" altLang="en-US" sz="2800" dirty="0"/>
          </a:p>
          <a:p>
            <a:pPr marL="514350" lvl="0" indent="-51435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alt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evidence-informed communication and advocacy strategies</a:t>
            </a:r>
            <a:endParaRPr lang="en-GB" altLang="en-US" sz="28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/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GB" altLang="en-US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                                                                     Objectives of the PrEP &amp; </a:t>
            </a:r>
            <a:br>
              <a:rPr lang="en-GB" altLang="en-US" sz="3600" b="1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GB" altLang="en-US" sz="3600" b="1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                                                            Test &amp; Treat Policy</a:t>
            </a:r>
            <a:endParaRPr lang="en-ZA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45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A2D432-5D41-462B-B8E5-356BD945B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en-ZA" sz="3600" b="1" dirty="0">
                <a:solidFill>
                  <a:schemeClr val="bg1"/>
                </a:solidFill>
              </a:rPr>
              <a:t>National Strategic Plan HIV, STI &amp; TB</a:t>
            </a:r>
            <a:br>
              <a:rPr lang="en-ZA" sz="3600" b="1" dirty="0">
                <a:solidFill>
                  <a:schemeClr val="bg1"/>
                </a:solidFill>
              </a:rPr>
            </a:br>
            <a:r>
              <a:rPr lang="en-ZA" sz="3600" b="1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xmlns="" id="{ECB656E2-9473-40E1-8CCF-69E32DE978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2369488"/>
              </p:ext>
            </p:extLst>
          </p:nvPr>
        </p:nvGraphicFramePr>
        <p:xfrm>
          <a:off x="467544" y="1340768"/>
          <a:ext cx="7704856" cy="3987288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7704856">
                  <a:extLst>
                    <a:ext uri="{9D8B030D-6E8A-4147-A177-3AD203B41FA5}">
                      <a16:colId xmlns:a16="http://schemas.microsoft.com/office/drawing/2014/main" xmlns="" val="2511221838"/>
                    </a:ext>
                  </a:extLst>
                </a:gridCol>
              </a:tblGrid>
              <a:tr h="921708">
                <a:tc>
                  <a:txBody>
                    <a:bodyPr/>
                    <a:lstStyle/>
                    <a:p>
                      <a:pPr algn="l" fontAlgn="b"/>
                      <a:endParaRPr lang="en-ZA" sz="3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70993795"/>
                  </a:ext>
                </a:extLst>
              </a:tr>
              <a:tr h="53591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3200" b="1" u="none" strike="noStrike" dirty="0" smtClean="0">
                          <a:effectLst/>
                        </a:rPr>
                        <a:t>Populations to focus on </a:t>
                      </a:r>
                      <a:endParaRPr lang="en-ZA" sz="3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88852142"/>
                  </a:ext>
                </a:extLst>
              </a:tr>
              <a:tr h="575723">
                <a:tc>
                  <a:txBody>
                    <a:bodyPr/>
                    <a:lstStyle/>
                    <a:p>
                      <a:pPr algn="l" fontAlgn="b"/>
                      <a:r>
                        <a:rPr lang="en-ZA" sz="2800" u="none" strike="noStrike" dirty="0">
                          <a:effectLst/>
                        </a:rPr>
                        <a:t>Adolescent girls (15-19)</a:t>
                      </a:r>
                      <a:endParaRPr lang="en-ZA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276988"/>
                  </a:ext>
                </a:extLst>
              </a:tr>
              <a:tr h="543303">
                <a:tc>
                  <a:txBody>
                    <a:bodyPr/>
                    <a:lstStyle/>
                    <a:p>
                      <a:pPr algn="l" fontAlgn="b"/>
                      <a:r>
                        <a:rPr lang="en-ZA" sz="2800" u="none" strike="noStrike" dirty="0">
                          <a:effectLst/>
                        </a:rPr>
                        <a:t>Young women (20-24)</a:t>
                      </a:r>
                      <a:endParaRPr lang="en-ZA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0284415"/>
                  </a:ext>
                </a:extLst>
              </a:tr>
              <a:tr h="470212">
                <a:tc>
                  <a:txBody>
                    <a:bodyPr/>
                    <a:lstStyle/>
                    <a:p>
                      <a:pPr algn="l" fontAlgn="b"/>
                      <a:r>
                        <a:rPr lang="en-ZA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x Workers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21735268"/>
                  </a:ext>
                </a:extLst>
              </a:tr>
              <a:tr h="470212">
                <a:tc>
                  <a:txBody>
                    <a:bodyPr/>
                    <a:lstStyle/>
                    <a:p>
                      <a:pPr algn="l" fontAlgn="b"/>
                      <a:r>
                        <a:rPr lang="en-ZA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n who have sex with men (MSM)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86296990"/>
                  </a:ext>
                </a:extLst>
              </a:tr>
              <a:tr h="470212">
                <a:tc>
                  <a:txBody>
                    <a:bodyPr/>
                    <a:lstStyle/>
                    <a:p>
                      <a:pPr algn="l" fontAlgn="b"/>
                      <a:r>
                        <a:rPr lang="en-ZA" sz="2800" u="none" strike="noStrike" dirty="0">
                          <a:effectLst/>
                        </a:rPr>
                        <a:t>Intravenous Drug Users (IDU)</a:t>
                      </a:r>
                      <a:endParaRPr lang="en-ZA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003524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18812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sz="4000" b="1" dirty="0" err="1" smtClean="0">
                <a:solidFill>
                  <a:schemeClr val="tx1"/>
                </a:solidFill>
              </a:rPr>
              <a:t>PrEP</a:t>
            </a:r>
            <a:r>
              <a:rPr lang="en-ZA" sz="4000" b="1" dirty="0" smtClean="0">
                <a:solidFill>
                  <a:schemeClr val="tx1"/>
                </a:solidFill>
              </a:rPr>
              <a:t> offer and Sex </a:t>
            </a:r>
            <a:r>
              <a:rPr lang="en-ZA" sz="4000" b="1" dirty="0">
                <a:solidFill>
                  <a:schemeClr val="tx1"/>
                </a:solidFill>
              </a:rPr>
              <a:t>Workers</a:t>
            </a:r>
          </a:p>
        </p:txBody>
      </p:sp>
    </p:spTree>
    <p:extLst>
      <p:ext uri="{BB962C8B-B14F-4D97-AF65-F5344CB8AC3E}">
        <p14:creationId xmlns:p14="http://schemas.microsoft.com/office/powerpoint/2010/main" val="22639550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l"/>
            <a:r>
              <a:rPr lang="en-US" sz="3600" b="1" dirty="0">
                <a:solidFill>
                  <a:schemeClr val="bg1"/>
                </a:solidFill>
              </a:rPr>
              <a:t>South African National </a:t>
            </a:r>
            <a:br>
              <a:rPr lang="en-US" sz="3600" b="1" dirty="0">
                <a:solidFill>
                  <a:schemeClr val="bg1"/>
                </a:solidFill>
              </a:rPr>
            </a:br>
            <a:r>
              <a:rPr lang="en-US" sz="3600" b="1" dirty="0">
                <a:solidFill>
                  <a:schemeClr val="bg1"/>
                </a:solidFill>
              </a:rPr>
              <a:t>Sex Worker HIV Plan 2016-2019</a:t>
            </a:r>
            <a:endParaRPr lang="en-ZA" sz="36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352" y="1124744"/>
            <a:ext cx="8610128" cy="4536504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b="1" dirty="0"/>
              <a:t>Goal </a:t>
            </a:r>
          </a:p>
          <a:p>
            <a:r>
              <a:rPr lang="en-US" dirty="0"/>
              <a:t>To achieve a long and healthy life for all sex workers, their clients, non-commercial sex partners and children.</a:t>
            </a:r>
            <a:endParaRPr lang="en-ZA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Aims</a:t>
            </a:r>
            <a:endParaRPr lang="en-ZA" b="1" dirty="0"/>
          </a:p>
          <a:p>
            <a:pPr lvl="0"/>
            <a:r>
              <a:rPr lang="en-US" dirty="0"/>
              <a:t>Reduce HIV, STI and TB incidence among sex workers;</a:t>
            </a:r>
            <a:endParaRPr lang="en-ZA" dirty="0"/>
          </a:p>
          <a:p>
            <a:pPr lvl="0"/>
            <a:r>
              <a:rPr lang="en-US" dirty="0"/>
              <a:t>Reduce HIV, STI and TB-related mortality among sex workers; and</a:t>
            </a:r>
            <a:endParaRPr lang="en-ZA" dirty="0"/>
          </a:p>
          <a:p>
            <a:pPr lvl="0"/>
            <a:r>
              <a:rPr lang="en-US" dirty="0"/>
              <a:t>Reduce human rights violations experienced by sex workers.</a:t>
            </a:r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3038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l"/>
            <a:r>
              <a:rPr lang="en-ZA" sz="4000" b="1" dirty="0">
                <a:solidFill>
                  <a:schemeClr val="bg1"/>
                </a:solidFill>
              </a:rPr>
              <a:t>Sex Worker Plan 2016-201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215516" y="1340768"/>
            <a:ext cx="8712968" cy="4824536"/>
          </a:xfrm>
        </p:spPr>
        <p:txBody>
          <a:bodyPr>
            <a:normAutofit fontScale="25000" lnSpcReduction="20000"/>
          </a:bodyPr>
          <a:lstStyle/>
          <a:p>
            <a:pPr marL="0" lvl="0" indent="0">
              <a:buNone/>
            </a:pPr>
            <a:endParaRPr lang="en-US" sz="20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reach 70 000 sex workers with a core package of services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recruit 1 000 peer educators 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ensure that 95% of sex workers use condoms with their clients 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provide PrEP for </a:t>
            </a:r>
            <a:r>
              <a:rPr lang="en-US" sz="9600" dirty="0" smtClean="0"/>
              <a:t>at least 3 </a:t>
            </a:r>
            <a:r>
              <a:rPr lang="en-US" sz="9600" dirty="0"/>
              <a:t>000 sex workers (this target will be reviewed once the uptake is assessed in the first year)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ensure that 90% of sex workers reached are tested for HIV and know their status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ensure that 90% of sex workers who test positive are on ART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ensure that 90% of sex workers on ART are virally suppressed </a:t>
            </a:r>
            <a:endParaRPr lang="en-ZA" sz="9600" dirty="0"/>
          </a:p>
          <a:p>
            <a:pPr lvl="0">
              <a:buFont typeface="Wingdings" panose="05000000000000000000" pitchFamily="2" charset="2"/>
              <a:buChar char="q"/>
            </a:pPr>
            <a:r>
              <a:rPr lang="en-US" sz="9600" dirty="0"/>
              <a:t>To reduce instances of violence against sex workers by 50%</a:t>
            </a:r>
            <a:endParaRPr lang="en-ZA" sz="9600" dirty="0"/>
          </a:p>
        </p:txBody>
      </p:sp>
    </p:spTree>
    <p:extLst>
      <p:ext uri="{BB962C8B-B14F-4D97-AF65-F5344CB8AC3E}">
        <p14:creationId xmlns:p14="http://schemas.microsoft.com/office/powerpoint/2010/main" val="4033164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08" y="1124744"/>
            <a:ext cx="8856984" cy="5544616"/>
          </a:xfrm>
          <a:prstGeom prst="rect">
            <a:avLst/>
          </a:prstGeom>
          <a:noFill/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xmlns="" id="{0B353206-6935-420B-BFA5-766860A63F63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7308304" cy="72008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3600" dirty="0">
                <a:solidFill>
                  <a:schemeClr val="bg1"/>
                </a:solidFill>
              </a:rPr>
              <a:t>Theory of Change </a:t>
            </a:r>
          </a:p>
          <a:p>
            <a:r>
              <a:rPr lang="en-ZA" sz="3600" dirty="0">
                <a:solidFill>
                  <a:schemeClr val="bg1"/>
                </a:solidFill>
              </a:rPr>
              <a:t>(Sex Worker Plan)</a:t>
            </a:r>
          </a:p>
        </p:txBody>
      </p:sp>
    </p:spTree>
    <p:extLst>
      <p:ext uri="{BB962C8B-B14F-4D97-AF65-F5344CB8AC3E}">
        <p14:creationId xmlns:p14="http://schemas.microsoft.com/office/powerpoint/2010/main" val="1063294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4</TotalTime>
  <Words>1066</Words>
  <Application>Microsoft Office PowerPoint</Application>
  <PresentationFormat>On-screen Show (4:3)</PresentationFormat>
  <Paragraphs>224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MS Mincho</vt:lpstr>
      <vt:lpstr>MS PGothic</vt:lpstr>
      <vt:lpstr>Arial</vt:lpstr>
      <vt:lpstr>Calibri</vt:lpstr>
      <vt:lpstr>Calibri Light</vt:lpstr>
      <vt:lpstr>Gill Sans</vt:lpstr>
      <vt:lpstr>Times New Roman</vt:lpstr>
      <vt:lpstr>Wingdings</vt:lpstr>
      <vt:lpstr>Office Theme</vt:lpstr>
      <vt:lpstr>Custom Design</vt:lpstr>
      <vt:lpstr>1_Office Theme</vt:lpstr>
      <vt:lpstr>think-cell Slide</vt:lpstr>
      <vt:lpstr>PowerPoint Presentation</vt:lpstr>
      <vt:lpstr>PowerPoint Presentation</vt:lpstr>
      <vt:lpstr>PowerPoint Presentation</vt:lpstr>
      <vt:lpstr>                                                                                      Objectives of the PrEP &amp;                                                                               Test &amp; Treat Policy</vt:lpstr>
      <vt:lpstr>National Strategic Plan HIV, STI &amp; TB  </vt:lpstr>
      <vt:lpstr>PowerPoint Presentation</vt:lpstr>
      <vt:lpstr>South African National  Sex Worker HIV Plan 2016-2019</vt:lpstr>
      <vt:lpstr>Sex Worker Plan 2016-2019</vt:lpstr>
      <vt:lpstr>PowerPoint Presentation</vt:lpstr>
      <vt:lpstr>Implementation Process</vt:lpstr>
      <vt:lpstr>Implementation Process</vt:lpstr>
      <vt:lpstr>Package of Interventions Sex Workers  Designated Services In Partnership -NGO, Government &amp; Donors   (fixed, mobile, outreach)</vt:lpstr>
      <vt:lpstr>Oral PrEP Initiations June 2016 – May 2018</vt:lpstr>
      <vt:lpstr>PowerPoint Presentation</vt:lpstr>
      <vt:lpstr>PowerPoint Presentation</vt:lpstr>
      <vt:lpstr>          PrEP unit cost (2017 ZAR)  </vt:lpstr>
      <vt:lpstr>Oral PrEP Implementation for Key and Vulnerable Populations</vt:lpstr>
      <vt:lpstr>Oral PrEP Implementation for Key and Vulnerable Populations</vt:lpstr>
      <vt:lpstr>Oral PrEP Implementation for Key and Vulnerable Populations</vt:lpstr>
      <vt:lpstr>                                                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mim</dc:creator>
  <cp:lastModifiedBy>Saal</cp:lastModifiedBy>
  <cp:revision>31</cp:revision>
  <dcterms:created xsi:type="dcterms:W3CDTF">2013-10-17T06:13:57Z</dcterms:created>
  <dcterms:modified xsi:type="dcterms:W3CDTF">2018-07-22T09:34:44Z</dcterms:modified>
</cp:coreProperties>
</file>